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4"/>
    <p:sldMasterId id="2147483689" r:id="rId5"/>
    <p:sldMasterId id="2147483765" r:id="rId6"/>
    <p:sldMasterId id="2147483780" r:id="rId7"/>
  </p:sldMasterIdLst>
  <p:notesMasterIdLst>
    <p:notesMasterId r:id="rId19"/>
  </p:notesMasterIdLst>
  <p:sldIdLst>
    <p:sldId id="326" r:id="rId8"/>
    <p:sldId id="347" r:id="rId9"/>
    <p:sldId id="341" r:id="rId10"/>
    <p:sldId id="348" r:id="rId11"/>
    <p:sldId id="360" r:id="rId12"/>
    <p:sldId id="369" r:id="rId13"/>
    <p:sldId id="374" r:id="rId14"/>
    <p:sldId id="375" r:id="rId15"/>
    <p:sldId id="376" r:id="rId16"/>
    <p:sldId id="370" r:id="rId17"/>
    <p:sldId id="328" r:id="rId18"/>
  </p:sldIdLst>
  <p:sldSz cx="9144000" cy="6858000" type="screen4x3"/>
  <p:notesSz cx="6797675" cy="9872663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624">
          <p15:clr>
            <a:srgbClr val="A4A3A4"/>
          </p15:clr>
        </p15:guide>
        <p15:guide id="3" orient="horz" pos="3696">
          <p15:clr>
            <a:srgbClr val="A4A3A4"/>
          </p15:clr>
        </p15:guide>
        <p15:guide id="4" orient="horz" pos="144">
          <p15:clr>
            <a:srgbClr val="A4A3A4"/>
          </p15:clr>
        </p15:guide>
        <p15:guide id="5" orient="horz" pos="768">
          <p15:clr>
            <a:srgbClr val="A4A3A4"/>
          </p15:clr>
        </p15:guide>
        <p15:guide id="6" pos="144">
          <p15:clr>
            <a:srgbClr val="A4A3A4"/>
          </p15:clr>
        </p15:guide>
        <p15:guide id="7" pos="336">
          <p15:clr>
            <a:srgbClr val="A4A3A4"/>
          </p15:clr>
        </p15:guide>
        <p15:guide id="8" pos="5616">
          <p15:clr>
            <a:srgbClr val="A4A3A4"/>
          </p15:clr>
        </p15:guide>
        <p15:guide id="9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FF"/>
    <a:srgbClr val="3397D3"/>
    <a:srgbClr val="00DA63"/>
    <a:srgbClr val="006EAB"/>
    <a:srgbClr val="01F5D2"/>
    <a:srgbClr val="007EBB"/>
    <a:srgbClr val="D6EBFF"/>
    <a:srgbClr val="A1C7E7"/>
    <a:srgbClr val="00E266"/>
    <a:srgbClr val="05FF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3939" autoAdjust="0"/>
  </p:normalViewPr>
  <p:slideViewPr>
    <p:cSldViewPr showGuides="1">
      <p:cViewPr varScale="1">
        <p:scale>
          <a:sx n="51" d="100"/>
          <a:sy n="51" d="100"/>
        </p:scale>
        <p:origin x="920" y="52"/>
      </p:cViewPr>
      <p:guideLst>
        <p:guide orient="horz" pos="2160"/>
        <p:guide orient="horz" pos="624"/>
        <p:guide orient="horz" pos="3696"/>
        <p:guide orient="horz" pos="144"/>
        <p:guide orient="horz" pos="768"/>
        <p:guide pos="144"/>
        <p:guide pos="336"/>
        <p:guide pos="561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850288-B76A-488B-9F01-4DBEC7F53667}" type="doc">
      <dgm:prSet loTypeId="urn:microsoft.com/office/officeart/2005/8/layout/rings+Icon" loCatId="relationship" qsTypeId="urn:microsoft.com/office/officeart/2005/8/quickstyle/3d1" qsCatId="3D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4116947E-1E2B-4659-8ABC-FE511085BF33}">
      <dgm:prSet phldrT="[文本]"/>
      <dgm:spPr/>
      <dgm:t>
        <a:bodyPr/>
        <a:lstStyle/>
        <a:p>
          <a:r>
            <a:rPr lang="zh-CN" altLang="en-US" dirty="0" smtClean="0">
              <a:solidFill>
                <a:schemeClr val="bg1"/>
              </a:solidFill>
            </a:rPr>
            <a:t>小的投入也可以得到大的改善。</a:t>
          </a:r>
          <a:endParaRPr lang="zh-CN" altLang="en-US" dirty="0">
            <a:solidFill>
              <a:schemeClr val="bg1"/>
            </a:solidFill>
          </a:endParaRPr>
        </a:p>
      </dgm:t>
    </dgm:pt>
    <dgm:pt modelId="{B1C7CFCB-7BF5-4CB1-9B87-606B91A43E70}" type="parTrans" cxnId="{B836EF2A-DA48-4937-AB41-972F6246331D}">
      <dgm:prSet/>
      <dgm:spPr/>
      <dgm:t>
        <a:bodyPr/>
        <a:lstStyle/>
        <a:p>
          <a:endParaRPr lang="zh-CN" altLang="en-US"/>
        </a:p>
      </dgm:t>
    </dgm:pt>
    <dgm:pt modelId="{9ACBAA4D-11F7-4ECF-A3C8-171519E1AD2D}" type="sibTrans" cxnId="{B836EF2A-DA48-4937-AB41-972F6246331D}">
      <dgm:prSet/>
      <dgm:spPr/>
      <dgm:t>
        <a:bodyPr/>
        <a:lstStyle/>
        <a:p>
          <a:endParaRPr lang="zh-CN" altLang="en-US"/>
        </a:p>
      </dgm:t>
    </dgm:pt>
    <dgm:pt modelId="{61F295E5-EDB6-4BB6-9950-68460904275B}">
      <dgm:prSet phldrT="[文本]"/>
      <dgm:spPr/>
      <dgm:t>
        <a:bodyPr/>
        <a:lstStyle/>
        <a:p>
          <a:r>
            <a:rPr lang="zh-CN" altLang="en-US" dirty="0" smtClean="0">
              <a:solidFill>
                <a:schemeClr val="bg1"/>
              </a:solidFill>
            </a:rPr>
            <a:t>前面的工序做好工作，可以提升后面工序的工作效率。</a:t>
          </a:r>
          <a:endParaRPr lang="zh-CN" altLang="en-US" dirty="0">
            <a:solidFill>
              <a:schemeClr val="bg1"/>
            </a:solidFill>
          </a:endParaRPr>
        </a:p>
      </dgm:t>
    </dgm:pt>
    <dgm:pt modelId="{54076000-6833-475F-B43A-4302BE236951}" type="parTrans" cxnId="{2345B5D0-6D76-4EC7-90A5-86B0AD0DBDB9}">
      <dgm:prSet/>
      <dgm:spPr/>
      <dgm:t>
        <a:bodyPr/>
        <a:lstStyle/>
        <a:p>
          <a:endParaRPr lang="zh-CN" altLang="en-US"/>
        </a:p>
      </dgm:t>
    </dgm:pt>
    <dgm:pt modelId="{9414985D-43B3-4096-AB27-B0B1C7961081}" type="sibTrans" cxnId="{2345B5D0-6D76-4EC7-90A5-86B0AD0DBDB9}">
      <dgm:prSet/>
      <dgm:spPr/>
      <dgm:t>
        <a:bodyPr/>
        <a:lstStyle/>
        <a:p>
          <a:endParaRPr lang="zh-CN" altLang="en-US"/>
        </a:p>
      </dgm:t>
    </dgm:pt>
    <dgm:pt modelId="{2A03BEC9-176B-4013-A425-13C6D50011D6}">
      <dgm:prSet phldrT="[文本]"/>
      <dgm:spPr/>
      <dgm:t>
        <a:bodyPr/>
        <a:lstStyle/>
        <a:p>
          <a:r>
            <a:rPr lang="zh-CN" altLang="en-US" dirty="0" smtClean="0">
              <a:solidFill>
                <a:schemeClr val="bg1"/>
              </a:solidFill>
            </a:rPr>
            <a:t>精益的工具能帮我们提升工作效率。</a:t>
          </a:r>
          <a:endParaRPr lang="zh-CN" altLang="en-US" dirty="0">
            <a:solidFill>
              <a:schemeClr val="bg1"/>
            </a:solidFill>
          </a:endParaRPr>
        </a:p>
      </dgm:t>
    </dgm:pt>
    <dgm:pt modelId="{62D865AF-0303-487E-AACD-9B8ED7C22633}" type="sibTrans" cxnId="{DD07FA99-6AB6-43A5-8C48-98697C6950A4}">
      <dgm:prSet/>
      <dgm:spPr/>
      <dgm:t>
        <a:bodyPr/>
        <a:lstStyle/>
        <a:p>
          <a:endParaRPr lang="zh-CN" altLang="en-US"/>
        </a:p>
      </dgm:t>
    </dgm:pt>
    <dgm:pt modelId="{4D252D86-12A5-4FF2-B45C-CCD3E64979B0}" type="parTrans" cxnId="{DD07FA99-6AB6-43A5-8C48-98697C6950A4}">
      <dgm:prSet/>
      <dgm:spPr/>
      <dgm:t>
        <a:bodyPr/>
        <a:lstStyle/>
        <a:p>
          <a:endParaRPr lang="zh-CN" altLang="en-US"/>
        </a:p>
      </dgm:t>
    </dgm:pt>
    <dgm:pt modelId="{91993C1B-DCF5-420D-A7EC-17BE705BB0ED}" type="pres">
      <dgm:prSet presAssocID="{B2850288-B76A-488B-9F01-4DBEC7F53667}" presName="Name0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A5F8019-23DC-4D48-A0EC-A4E002E22538}" type="pres">
      <dgm:prSet presAssocID="{B2850288-B76A-488B-9F01-4DBEC7F53667}" presName="ellipse1" presStyleLbl="venn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0177B92-68C9-42BE-AEB0-86558871FCC5}" type="pres">
      <dgm:prSet presAssocID="{B2850288-B76A-488B-9F01-4DBEC7F53667}" presName="ellipse2" presStyleLbl="venn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4282ABA-E4CF-459E-AF83-4C6FF18519BA}" type="pres">
      <dgm:prSet presAssocID="{B2850288-B76A-488B-9F01-4DBEC7F53667}" presName="ellipse3" presStyleLbl="venn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D6897BB0-D45E-4DF6-991F-AA57F8A13211}" type="presOf" srcId="{2A03BEC9-176B-4013-A425-13C6D50011D6}" destId="{7A5F8019-23DC-4D48-A0EC-A4E002E22538}" srcOrd="0" destOrd="0" presId="urn:microsoft.com/office/officeart/2005/8/layout/rings+Icon"/>
    <dgm:cxn modelId="{DD07FA99-6AB6-43A5-8C48-98697C6950A4}" srcId="{B2850288-B76A-488B-9F01-4DBEC7F53667}" destId="{2A03BEC9-176B-4013-A425-13C6D50011D6}" srcOrd="0" destOrd="0" parTransId="{4D252D86-12A5-4FF2-B45C-CCD3E64979B0}" sibTransId="{62D865AF-0303-487E-AACD-9B8ED7C22633}"/>
    <dgm:cxn modelId="{B836EF2A-DA48-4937-AB41-972F6246331D}" srcId="{B2850288-B76A-488B-9F01-4DBEC7F53667}" destId="{4116947E-1E2B-4659-8ABC-FE511085BF33}" srcOrd="1" destOrd="0" parTransId="{B1C7CFCB-7BF5-4CB1-9B87-606B91A43E70}" sibTransId="{9ACBAA4D-11F7-4ECF-A3C8-171519E1AD2D}"/>
    <dgm:cxn modelId="{E6E3C71C-8D4C-4775-BC78-ECAB011F7F6F}" type="presOf" srcId="{61F295E5-EDB6-4BB6-9950-68460904275B}" destId="{F4282ABA-E4CF-459E-AF83-4C6FF18519BA}" srcOrd="0" destOrd="0" presId="urn:microsoft.com/office/officeart/2005/8/layout/rings+Icon"/>
    <dgm:cxn modelId="{937C14CB-EEE9-48A7-9648-ECFF773E4421}" type="presOf" srcId="{4116947E-1E2B-4659-8ABC-FE511085BF33}" destId="{90177B92-68C9-42BE-AEB0-86558871FCC5}" srcOrd="0" destOrd="0" presId="urn:microsoft.com/office/officeart/2005/8/layout/rings+Icon"/>
    <dgm:cxn modelId="{2345B5D0-6D76-4EC7-90A5-86B0AD0DBDB9}" srcId="{B2850288-B76A-488B-9F01-4DBEC7F53667}" destId="{61F295E5-EDB6-4BB6-9950-68460904275B}" srcOrd="2" destOrd="0" parTransId="{54076000-6833-475F-B43A-4302BE236951}" sibTransId="{9414985D-43B3-4096-AB27-B0B1C7961081}"/>
    <dgm:cxn modelId="{FC4DA1F4-DF55-4CE3-BF6F-A228B71E3279}" type="presOf" srcId="{B2850288-B76A-488B-9F01-4DBEC7F53667}" destId="{91993C1B-DCF5-420D-A7EC-17BE705BB0ED}" srcOrd="0" destOrd="0" presId="urn:microsoft.com/office/officeart/2005/8/layout/rings+Icon"/>
    <dgm:cxn modelId="{DCD25F1A-F89F-49E3-9D84-778FE958577E}" type="presParOf" srcId="{91993C1B-DCF5-420D-A7EC-17BE705BB0ED}" destId="{7A5F8019-23DC-4D48-A0EC-A4E002E22538}" srcOrd="0" destOrd="0" presId="urn:microsoft.com/office/officeart/2005/8/layout/rings+Icon"/>
    <dgm:cxn modelId="{1922971C-42EE-4643-AC4D-24789D06C7C2}" type="presParOf" srcId="{91993C1B-DCF5-420D-A7EC-17BE705BB0ED}" destId="{90177B92-68C9-42BE-AEB0-86558871FCC5}" srcOrd="1" destOrd="0" presId="urn:microsoft.com/office/officeart/2005/8/layout/rings+Icon"/>
    <dgm:cxn modelId="{B2BF5E95-F906-412E-8563-3F96FB38995A}" type="presParOf" srcId="{91993C1B-DCF5-420D-A7EC-17BE705BB0ED}" destId="{F4282ABA-E4CF-459E-AF83-4C6FF18519BA}" srcOrd="2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5F8019-23DC-4D48-A0EC-A4E002E22538}">
      <dsp:nvSpPr>
        <dsp:cNvPr id="0" name=""/>
        <dsp:cNvSpPr/>
      </dsp:nvSpPr>
      <dsp:spPr>
        <a:xfrm>
          <a:off x="1006354" y="0"/>
          <a:ext cx="2893959" cy="289391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kern="1200" dirty="0" smtClean="0">
              <a:solidFill>
                <a:schemeClr val="bg1"/>
              </a:solidFill>
            </a:rPr>
            <a:t>精益的工具能帮我们提升工作效率。</a:t>
          </a:r>
          <a:endParaRPr lang="zh-CN" altLang="en-US" sz="2300" kern="1200" dirty="0">
            <a:solidFill>
              <a:schemeClr val="bg1"/>
            </a:solidFill>
          </a:endParaRPr>
        </a:p>
      </dsp:txBody>
      <dsp:txXfrm>
        <a:off x="1430164" y="423804"/>
        <a:ext cx="2046339" cy="2046309"/>
      </dsp:txXfrm>
    </dsp:sp>
    <dsp:sp modelId="{90177B92-68C9-42BE-AEB0-86558871FCC5}">
      <dsp:nvSpPr>
        <dsp:cNvPr id="0" name=""/>
        <dsp:cNvSpPr/>
      </dsp:nvSpPr>
      <dsp:spPr>
        <a:xfrm>
          <a:off x="2495901" y="1930082"/>
          <a:ext cx="2893959" cy="2893917"/>
        </a:xfrm>
        <a:prstGeom prst="ellipse">
          <a:avLst/>
        </a:prstGeom>
        <a:solidFill>
          <a:schemeClr val="accent2">
            <a:alpha val="50000"/>
            <a:hueOff val="7933122"/>
            <a:satOff val="41515"/>
            <a:lumOff val="-18725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kern="1200" dirty="0" smtClean="0">
              <a:solidFill>
                <a:schemeClr val="bg1"/>
              </a:solidFill>
            </a:rPr>
            <a:t>小的投入也可以得到大的改善。</a:t>
          </a:r>
          <a:endParaRPr lang="zh-CN" altLang="en-US" sz="2300" kern="1200" dirty="0">
            <a:solidFill>
              <a:schemeClr val="bg1"/>
            </a:solidFill>
          </a:endParaRPr>
        </a:p>
      </dsp:txBody>
      <dsp:txXfrm>
        <a:off x="2919711" y="2353886"/>
        <a:ext cx="2046339" cy="2046309"/>
      </dsp:txXfrm>
    </dsp:sp>
    <dsp:sp modelId="{F4282ABA-E4CF-459E-AF83-4C6FF18519BA}">
      <dsp:nvSpPr>
        <dsp:cNvPr id="0" name=""/>
        <dsp:cNvSpPr/>
      </dsp:nvSpPr>
      <dsp:spPr>
        <a:xfrm>
          <a:off x="3983686" y="0"/>
          <a:ext cx="2893959" cy="2893917"/>
        </a:xfrm>
        <a:prstGeom prst="ellipse">
          <a:avLst/>
        </a:prstGeom>
        <a:solidFill>
          <a:schemeClr val="accent2">
            <a:alpha val="50000"/>
            <a:hueOff val="15866245"/>
            <a:satOff val="83029"/>
            <a:lumOff val="-37451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kern="1200" dirty="0" smtClean="0">
              <a:solidFill>
                <a:schemeClr val="bg1"/>
              </a:solidFill>
            </a:rPr>
            <a:t>前面的工序做好工作，可以提升后面工序的工作效率。</a:t>
          </a:r>
          <a:endParaRPr lang="zh-CN" altLang="en-US" sz="2300" kern="1200" dirty="0">
            <a:solidFill>
              <a:schemeClr val="bg1"/>
            </a:solidFill>
          </a:endParaRPr>
        </a:p>
      </dsp:txBody>
      <dsp:txXfrm>
        <a:off x="4407496" y="423804"/>
        <a:ext cx="2046339" cy="20463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互连圆环"/>
  <dgm:desc val="用于显示重叠或互相关联的想法或概念。前七行的 1 级文本对应一个圆环。不使用的文本不出现，但是在切换版式后仍然可用。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5846C1-32D0-4A9F-9415-30D3BA0A6D28}" type="datetimeFigureOut">
              <a:rPr lang="en-US" smtClean="0"/>
              <a:pPr/>
              <a:t>12/1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54EC22-5E24-4555-8979-D4CE240548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754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2.emf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33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6.xml"/><Relationship Id="rId15" Type="http://schemas.openxmlformats.org/officeDocument/2006/relationships/image" Target="../media/image4.wmf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image" Target="../media/image8.jpeg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image" Target="../media/image7.jpeg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image" Target="../media/image11.jpeg"/><Relationship Id="rId1" Type="http://schemas.openxmlformats.org/officeDocument/2006/relationships/vmlDrawing" Target="../drawings/vmlDrawing7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image" Target="../media/image2.emf"/><Relationship Id="rId32" Type="http://schemas.openxmlformats.org/officeDocument/2006/relationships/image" Target="../media/image5.jpeg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10.jpeg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image" Target="../media/image4.wmf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slideMaster" Target="../slideMasters/slideMaster2.xml"/><Relationship Id="rId27" Type="http://schemas.openxmlformats.org/officeDocument/2006/relationships/image" Target="../media/image9.png"/><Relationship Id="rId30" Type="http://schemas.openxmlformats.org/officeDocument/2006/relationships/image" Target="../media/image12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2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3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15" Type="http://schemas.openxmlformats.org/officeDocument/2006/relationships/image" Target="../media/image4.wmf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6.w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2.emf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oleObject" Target="../embeddings/oleObject9.bin"/><Relationship Id="rId2" Type="http://schemas.openxmlformats.org/officeDocument/2006/relationships/tags" Target="../tags/tag67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9.vml"/><Relationship Id="rId6" Type="http://schemas.openxmlformats.org/officeDocument/2006/relationships/tags" Target="../tags/tag7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15" Type="http://schemas.openxmlformats.org/officeDocument/2006/relationships/image" Target="../media/image4.wmf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image" Target="../media/image8.jpeg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image" Target="../media/image7.jpeg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image" Target="../media/image11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image" Target="../media/image2.emf"/><Relationship Id="rId32" Type="http://schemas.openxmlformats.org/officeDocument/2006/relationships/image" Target="../media/image5.jpeg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oleObject" Target="../embeddings/oleObject11.bin"/><Relationship Id="rId28" Type="http://schemas.openxmlformats.org/officeDocument/2006/relationships/image" Target="../media/image10.jpeg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31" Type="http://schemas.openxmlformats.org/officeDocument/2006/relationships/image" Target="../media/image4.wmf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slideMaster" Target="../slideMasters/slideMaster3.xml"/><Relationship Id="rId27" Type="http://schemas.openxmlformats.org/officeDocument/2006/relationships/image" Target="../media/image9.png"/><Relationship Id="rId30" Type="http://schemas.openxmlformats.org/officeDocument/2006/relationships/image" Target="../media/image12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8.jpeg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image" Target="../media/image7.jpe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image" Target="../media/image11.jpeg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image" Target="../media/image2.emf"/><Relationship Id="rId32" Type="http://schemas.openxmlformats.org/officeDocument/2006/relationships/image" Target="../media/image5.jpe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oleObject" Target="../embeddings/oleObject3.bin"/><Relationship Id="rId28" Type="http://schemas.openxmlformats.org/officeDocument/2006/relationships/image" Target="../media/image10.jpe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image" Target="../media/image4.wmf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slideMaster" Target="../slideMasters/slideMaster1.xml"/><Relationship Id="rId27" Type="http://schemas.openxmlformats.org/officeDocument/2006/relationships/image" Target="../media/image9.png"/><Relationship Id="rId30" Type="http://schemas.openxmlformats.org/officeDocument/2006/relationships/image" Target="../media/image12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image" Target="../media/image2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01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13.vml"/><Relationship Id="rId6" Type="http://schemas.openxmlformats.org/officeDocument/2006/relationships/tags" Target="../tags/tag10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04.xml"/><Relationship Id="rId15" Type="http://schemas.openxmlformats.org/officeDocument/2006/relationships/image" Target="../media/image4.wmf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11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image" Target="../media/image8.jpeg"/><Relationship Id="rId3" Type="http://schemas.openxmlformats.org/officeDocument/2006/relationships/tags" Target="../tags/tag112.xml"/><Relationship Id="rId21" Type="http://schemas.openxmlformats.org/officeDocument/2006/relationships/tags" Target="../tags/tag130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image" Target="../media/image7.jpeg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29" Type="http://schemas.openxmlformats.org/officeDocument/2006/relationships/image" Target="../media/image11.jpeg"/><Relationship Id="rId1" Type="http://schemas.openxmlformats.org/officeDocument/2006/relationships/vmlDrawing" Target="../drawings/vmlDrawing15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image" Target="../media/image2.emf"/><Relationship Id="rId32" Type="http://schemas.openxmlformats.org/officeDocument/2006/relationships/image" Target="../media/image5.jpeg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oleObject" Target="../embeddings/oleObject15.bin"/><Relationship Id="rId28" Type="http://schemas.openxmlformats.org/officeDocument/2006/relationships/image" Target="../media/image10.jpeg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31" Type="http://schemas.openxmlformats.org/officeDocument/2006/relationships/image" Target="../media/image4.wmf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slideMaster" Target="../slideMasters/slideMaster4.xml"/><Relationship Id="rId27" Type="http://schemas.openxmlformats.org/officeDocument/2006/relationships/image" Target="../media/image9.png"/><Relationship Id="rId30" Type="http://schemas.openxmlformats.org/officeDocument/2006/relationships/image" Target="../media/image12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y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029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>
              <a:buClr>
                <a:srgbClr val="000000"/>
              </a:buClr>
              <a:buFont typeface="Wingdings" pitchFamily="2" charset="2"/>
              <a:buChar char="§"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6" descr="Dialogfelder_Hell_KU_kurz-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0200" y="559697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itel 1"/>
          <p:cNvSpPr>
            <a:spLocks noGrp="1"/>
          </p:cNvSpPr>
          <p:nvPr>
            <p:ph type="ctrTitle" hasCustomPrompt="1"/>
          </p:nvPr>
        </p:nvSpPr>
        <p:spPr>
          <a:xfrm>
            <a:off x="369301" y="688145"/>
            <a:ext cx="5988648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9301" y="1048244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369301" y="1367227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/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1031234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Standard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17459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063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6" descr="Dialogfelder_Hell_KU_kurz-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0200" y="559697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itel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69301" y="688145"/>
            <a:ext cx="5988648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Title: TKType Medium, 24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69301" y="1048244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Subtitle: TKType Medium, 24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69301" y="1367227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baseline="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: TKType Medium, 14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1765144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2010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" name="Titel 1"/>
          <p:cNvSpPr>
            <a:spLocks noGrp="1"/>
          </p:cNvSpPr>
          <p:nvPr>
            <p:ph type="ctrTitle" hasCustomPrompt="1"/>
          </p:nvPr>
        </p:nvSpPr>
        <p:spPr>
          <a:xfrm>
            <a:off x="369301" y="688145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9301" y="1420201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369301" y="1921653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/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2574492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with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911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17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2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556125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4" descr="DockingA380 Dubai 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848475" y="0"/>
            <a:ext cx="2295525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 descr="Dialogfelder_Hell_KU_kurz-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30200" y="2366963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 flipV="1">
            <a:off x="6859588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8" name="Picture 20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877050" y="0"/>
            <a:ext cx="2295525" cy="1733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9" name="Line 15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0" y="1727200"/>
            <a:ext cx="91440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" name="Picture 29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0" y="0"/>
            <a:ext cx="2255838" cy="1716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1" name="Picture 30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279650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2" name="Line 11"/>
          <p:cNvSpPr>
            <a:spLocks noChangeShapeType="1"/>
          </p:cNvSpPr>
          <p:nvPr userDrawn="1">
            <p:custDataLst>
              <p:tags r:id="rId13"/>
            </p:custDataLst>
          </p:nvPr>
        </p:nvSpPr>
        <p:spPr bwMode="auto">
          <a:xfrm flipV="1">
            <a:off x="2276475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3" name="Line 12"/>
          <p:cNvSpPr>
            <a:spLocks noChangeShapeType="1"/>
          </p:cNvSpPr>
          <p:nvPr userDrawn="1">
            <p:custDataLst>
              <p:tags r:id="rId14"/>
            </p:custDataLst>
          </p:nvPr>
        </p:nvSpPr>
        <p:spPr bwMode="auto">
          <a:xfrm flipV="1">
            <a:off x="4572000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4" name="Rectangle 31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4284663" y="4149725"/>
            <a:ext cx="2346325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ctrTitle" hasCustomPrompt="1"/>
            <p:custDataLst>
              <p:tags r:id="rId16"/>
            </p:custDataLst>
          </p:nvPr>
        </p:nvSpPr>
        <p:spPr>
          <a:xfrm>
            <a:off x="369301" y="2411500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26" name="Untertitel 2"/>
          <p:cNvSpPr>
            <a:spLocks noGrp="1"/>
          </p:cNvSpPr>
          <p:nvPr>
            <p:ph type="subTitle" idx="1" hasCustomPrompt="1"/>
            <p:custDataLst>
              <p:tags r:id="rId17"/>
            </p:custDataLst>
          </p:nvPr>
        </p:nvSpPr>
        <p:spPr>
          <a:xfrm>
            <a:off x="369301" y="3133549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10" hasCustomPrompt="1"/>
            <p:custDataLst>
              <p:tags r:id="rId18"/>
            </p:custDataLst>
          </p:nvPr>
        </p:nvSpPr>
        <p:spPr>
          <a:xfrm>
            <a:off x="369301" y="3452532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29" name="Picture 12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0" name="Picture 29" descr="Konzernmarke - Ohne Rundung RGB 241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6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785537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- title, sub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4638" y="1089025"/>
            <a:ext cx="8596313" cy="46815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1966" tIns="71966" rIns="71966" bIns="71966">
            <a:noAutofit/>
          </a:bodyPr>
          <a:lstStyle>
            <a:lvl1pPr marL="182475" indent="-1824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è"/>
              <a:defRPr lang="de-DE" sz="1400" kern="1200" smtClean="0">
                <a:solidFill>
                  <a:schemeClr val="bg1"/>
                </a:solidFill>
                <a:latin typeface="TKTypeMedium" pitchFamily="34" charset="0"/>
                <a:ea typeface="+mn-ea"/>
                <a:cs typeface="+mn-cs"/>
              </a:defRPr>
            </a:lvl1pPr>
            <a:lvl2pPr marL="358603" indent="-176129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è"/>
              <a:defRPr lang="de-DE" sz="1400" kern="1200" smtClean="0">
                <a:solidFill>
                  <a:schemeClr val="bg1"/>
                </a:solidFill>
                <a:latin typeface="TKTypeMedium" pitchFamily="34" charset="0"/>
                <a:ea typeface="+mn-ea"/>
                <a:cs typeface="+mn-cs"/>
              </a:defRPr>
            </a:lvl2pPr>
            <a:lvl3pPr marL="177716" indent="-177716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475" indent="-1824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716" indent="-177716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Click to edit text master</a:t>
            </a:r>
          </a:p>
          <a:p>
            <a:pPr lvl="1"/>
            <a:r>
              <a:rPr lang="de-DE" dirty="0" smtClean="0"/>
              <a:t>Second level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lvl="0"/>
            <a:r>
              <a:rPr lang="de-DE" dirty="0" smtClean="0"/>
              <a:t>Click to edit sub title master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25012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lvl="0"/>
            <a:r>
              <a:rPr lang="de-DE" dirty="0" smtClean="0"/>
              <a:t>Click to edit sub title master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10178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4136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22564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light blue circle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438053" y="1371600"/>
            <a:ext cx="1280160" cy="1271244"/>
            <a:chOff x="1443525" y="2514600"/>
            <a:chExt cx="613875" cy="609600"/>
          </a:xfrm>
        </p:grpSpPr>
        <p:sp>
          <p:nvSpPr>
            <p:cNvPr id="3" name="Oval 2"/>
            <p:cNvSpPr/>
            <p:nvPr/>
          </p:nvSpPr>
          <p:spPr bwMode="gray">
            <a:xfrm>
              <a:off x="1447800" y="2514600"/>
              <a:ext cx="609600" cy="609600"/>
            </a:xfrm>
            <a:prstGeom prst="ellipse">
              <a:avLst/>
            </a:prstGeom>
            <a:solidFill>
              <a:srgbClr val="57ABE1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4000" tIns="72000" rIns="18000" bIns="91440" rtlCol="0" anchor="ctr"/>
            <a:lstStyle/>
            <a:p>
              <a:pPr marL="168275" indent="-168275" algn="l" eaLnBrk="1" hangingPunct="1">
                <a:buClr>
                  <a:schemeClr val="tx1"/>
                </a:buClr>
                <a:buFont typeface="Wingdings" pitchFamily="2" charset="2"/>
                <a:buChar char="§"/>
              </a:pPr>
              <a:endParaRPr lang="en-US" sz="1400" dirty="0" err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 bwMode="auto">
            <a:xfrm>
              <a:off x="1443525" y="2514600"/>
              <a:ext cx="609600" cy="6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" name="Oval 4"/>
          <p:cNvSpPr/>
          <p:nvPr userDrawn="1">
            <p:custDataLst>
              <p:tags r:id="rId2"/>
            </p:custDataLst>
          </p:nvPr>
        </p:nvSpPr>
        <p:spPr bwMode="gray">
          <a:xfrm>
            <a:off x="2590800" y="947051"/>
            <a:ext cx="2133600" cy="2133600"/>
          </a:xfrm>
          <a:prstGeom prst="ellipse">
            <a:avLst/>
          </a:prstGeom>
          <a:solidFill>
            <a:srgbClr val="57ABE1"/>
          </a:solidFill>
          <a:ln w="6350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endParaRPr lang="en-US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 userDrawn="1"/>
        </p:nvSpPr>
        <p:spPr bwMode="gray">
          <a:xfrm rot="5400000">
            <a:off x="4121823" y="2616845"/>
            <a:ext cx="4248472" cy="1062118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5077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08" y="762000"/>
            <a:ext cx="1152146" cy="11521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0441" y="762000"/>
            <a:ext cx="1091186" cy="129540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137" y="762000"/>
            <a:ext cx="1152146" cy="115214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102" y="774357"/>
            <a:ext cx="1225298" cy="11521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380" y="4008405"/>
            <a:ext cx="1295403" cy="129540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469" y="4224813"/>
            <a:ext cx="1405131" cy="8625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7425" y="2658141"/>
            <a:ext cx="1088138" cy="127406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589" y="4296442"/>
            <a:ext cx="1511811" cy="71932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0" y="2718814"/>
            <a:ext cx="1584963" cy="9387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17" y="2809017"/>
            <a:ext cx="1246635" cy="97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26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y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610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>
              <a:buClr>
                <a:srgbClr val="000000"/>
              </a:buClr>
              <a:buFont typeface="Wingdings" pitchFamily="2" charset="2"/>
              <a:buChar char="§"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6550" y="549275"/>
            <a:ext cx="6062663" cy="20129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29" name="Titel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69301" y="688145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69301" y="1420201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69301" y="1921653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1530683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699405"/>
            <a:ext cx="1456947" cy="7620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289" y="2297586"/>
            <a:ext cx="1438659" cy="154838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2352449"/>
            <a:ext cx="649225" cy="143865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507381"/>
            <a:ext cx="719329" cy="95402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834658"/>
            <a:ext cx="1438659" cy="97231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650513"/>
            <a:ext cx="1078994" cy="115214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44188"/>
            <a:ext cx="1008890" cy="136855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560597"/>
            <a:ext cx="1438659" cy="1152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1487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819" y="2608375"/>
            <a:ext cx="1438659" cy="143865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2758857"/>
            <a:ext cx="719329" cy="14264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18853"/>
            <a:ext cx="1152146" cy="136855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039" y="955093"/>
            <a:ext cx="1728220" cy="9357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400" y="2746665"/>
            <a:ext cx="719329" cy="143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1024822"/>
            <a:ext cx="1871476" cy="8625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3" y="2636937"/>
            <a:ext cx="1728220" cy="154838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3" y="2547020"/>
            <a:ext cx="1152146" cy="172822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2486456"/>
            <a:ext cx="719329" cy="168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7580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851" y="934212"/>
            <a:ext cx="1728220" cy="7193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053" y="699516"/>
            <a:ext cx="1216154" cy="118872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609600"/>
            <a:ext cx="862586" cy="13685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3617"/>
            <a:ext cx="1548387" cy="79248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04" y="2935413"/>
            <a:ext cx="1655067" cy="100889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700716"/>
            <a:ext cx="1444755" cy="147828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2827209"/>
            <a:ext cx="1225298" cy="1225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87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10" y="307619"/>
            <a:ext cx="891847" cy="240670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5" y="274096"/>
            <a:ext cx="780899" cy="24301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31" y="307619"/>
            <a:ext cx="748895" cy="24067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1" y="274096"/>
            <a:ext cx="915317" cy="24301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9" y="362489"/>
            <a:ext cx="847041" cy="23683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73" y="3167172"/>
            <a:ext cx="891847" cy="23192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705" y="3167172"/>
            <a:ext cx="748895" cy="23192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864" y="3999278"/>
            <a:ext cx="541936" cy="148712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3621630"/>
            <a:ext cx="968656" cy="186477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175" y="3167172"/>
            <a:ext cx="876912" cy="231922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18" y="3873395"/>
            <a:ext cx="1446584" cy="161300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3167172"/>
            <a:ext cx="704089" cy="231922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3167172"/>
            <a:ext cx="902515" cy="2319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834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Final We are 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7"/>
            <a:ext cx="9144000" cy="6857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6463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8238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5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6" descr="Dialogfelder_Hell_KU_kurz-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0200" y="559697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itel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69301" y="688145"/>
            <a:ext cx="5988648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Title: TKType Medium, 24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69301" y="1048244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Subtitle: TKType Medium, 24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69301" y="1367227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baseline="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: TKType Medium, 14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22492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087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" name="Titel 1"/>
          <p:cNvSpPr>
            <a:spLocks noGrp="1"/>
          </p:cNvSpPr>
          <p:nvPr>
            <p:ph type="ctrTitle" hasCustomPrompt="1"/>
          </p:nvPr>
        </p:nvSpPr>
        <p:spPr>
          <a:xfrm>
            <a:off x="369301" y="688145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9301" y="1420201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369301" y="1921653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/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2641555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with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445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8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2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556125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4" descr="DockingA380 Dubai 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848475" y="0"/>
            <a:ext cx="2295525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 descr="Dialogfelder_Hell_KU_kurz-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30200" y="2366963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 flipV="1">
            <a:off x="6859588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8" name="Picture 20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877050" y="0"/>
            <a:ext cx="2295525" cy="1733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9" name="Line 15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0" y="1727200"/>
            <a:ext cx="91440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" name="Picture 29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0" y="0"/>
            <a:ext cx="2255838" cy="1716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1" name="Picture 30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279650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2" name="Line 11"/>
          <p:cNvSpPr>
            <a:spLocks noChangeShapeType="1"/>
          </p:cNvSpPr>
          <p:nvPr userDrawn="1">
            <p:custDataLst>
              <p:tags r:id="rId13"/>
            </p:custDataLst>
          </p:nvPr>
        </p:nvSpPr>
        <p:spPr bwMode="auto">
          <a:xfrm flipV="1">
            <a:off x="2276475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3" name="Line 12"/>
          <p:cNvSpPr>
            <a:spLocks noChangeShapeType="1"/>
          </p:cNvSpPr>
          <p:nvPr userDrawn="1">
            <p:custDataLst>
              <p:tags r:id="rId14"/>
            </p:custDataLst>
          </p:nvPr>
        </p:nvSpPr>
        <p:spPr bwMode="auto">
          <a:xfrm flipV="1">
            <a:off x="4572000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4" name="Rectangle 31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4284663" y="4149725"/>
            <a:ext cx="2346325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ctrTitle" hasCustomPrompt="1"/>
            <p:custDataLst>
              <p:tags r:id="rId16"/>
            </p:custDataLst>
          </p:nvPr>
        </p:nvSpPr>
        <p:spPr>
          <a:xfrm>
            <a:off x="369301" y="2411500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26" name="Untertitel 2"/>
          <p:cNvSpPr>
            <a:spLocks noGrp="1"/>
          </p:cNvSpPr>
          <p:nvPr>
            <p:ph type="subTitle" idx="1" hasCustomPrompt="1"/>
            <p:custDataLst>
              <p:tags r:id="rId17"/>
            </p:custDataLst>
          </p:nvPr>
        </p:nvSpPr>
        <p:spPr>
          <a:xfrm>
            <a:off x="369301" y="3133549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10" hasCustomPrompt="1"/>
            <p:custDataLst>
              <p:tags r:id="rId18"/>
            </p:custDataLst>
          </p:nvPr>
        </p:nvSpPr>
        <p:spPr>
          <a:xfrm>
            <a:off x="369301" y="3452532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29" name="Picture 12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0" name="Picture 29" descr="Konzernmarke - Ohne Rundung RGB 241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6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227935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- title, sub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4638" y="1089025"/>
            <a:ext cx="8596313" cy="46815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1966" tIns="71966" rIns="71966" bIns="71966">
            <a:noAutofit/>
          </a:bodyPr>
          <a:lstStyle>
            <a:lvl1pPr marL="182475" indent="-1824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è"/>
              <a:defRPr lang="de-DE" sz="1400" kern="1200" smtClean="0">
                <a:solidFill>
                  <a:schemeClr val="bg1"/>
                </a:solidFill>
                <a:latin typeface="TKTypeMedium" pitchFamily="34" charset="0"/>
                <a:ea typeface="+mn-ea"/>
                <a:cs typeface="+mn-cs"/>
              </a:defRPr>
            </a:lvl1pPr>
            <a:lvl2pPr marL="358603" indent="-176129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è"/>
              <a:defRPr lang="de-DE" sz="1400" kern="1200" smtClean="0">
                <a:solidFill>
                  <a:schemeClr val="bg1"/>
                </a:solidFill>
                <a:latin typeface="TKTypeMedium" pitchFamily="34" charset="0"/>
                <a:ea typeface="+mn-ea"/>
                <a:cs typeface="+mn-cs"/>
              </a:defRPr>
            </a:lvl2pPr>
            <a:lvl3pPr marL="177716" indent="-177716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475" indent="-1824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716" indent="-177716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Click to edit text master</a:t>
            </a:r>
          </a:p>
          <a:p>
            <a:pPr lvl="1"/>
            <a:r>
              <a:rPr lang="de-DE" dirty="0" smtClean="0"/>
              <a:t>Second level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lvl="0"/>
            <a:r>
              <a:rPr lang="de-DE" dirty="0" smtClean="0"/>
              <a:t>Click to edit sub title master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56748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lvl="0"/>
            <a:r>
              <a:rPr lang="de-DE" dirty="0" smtClean="0"/>
              <a:t>Click to edit sub title master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5882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grey +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803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93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2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556125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4" descr="DockingA380 Dubai 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848475" y="0"/>
            <a:ext cx="2295525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 descr="Dialogfelder_Hell_KU_kurz-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30200" y="2366963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 flipV="1">
            <a:off x="6859588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8" name="Picture 20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877050" y="0"/>
            <a:ext cx="2295525" cy="1733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9" name="Line 15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0" y="1727200"/>
            <a:ext cx="91440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" name="Picture 29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0" y="0"/>
            <a:ext cx="2255838" cy="1716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1" name="Picture 30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279650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2" name="Line 11"/>
          <p:cNvSpPr>
            <a:spLocks noChangeShapeType="1"/>
          </p:cNvSpPr>
          <p:nvPr userDrawn="1">
            <p:custDataLst>
              <p:tags r:id="rId13"/>
            </p:custDataLst>
          </p:nvPr>
        </p:nvSpPr>
        <p:spPr bwMode="auto">
          <a:xfrm flipV="1">
            <a:off x="2276475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3" name="Line 12"/>
          <p:cNvSpPr>
            <a:spLocks noChangeShapeType="1"/>
          </p:cNvSpPr>
          <p:nvPr userDrawn="1">
            <p:custDataLst>
              <p:tags r:id="rId14"/>
            </p:custDataLst>
          </p:nvPr>
        </p:nvSpPr>
        <p:spPr bwMode="auto">
          <a:xfrm flipV="1">
            <a:off x="4572000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4" name="Rectangle 31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4284663" y="4149725"/>
            <a:ext cx="2346325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ctrTitle" hasCustomPrompt="1"/>
            <p:custDataLst>
              <p:tags r:id="rId16"/>
            </p:custDataLst>
          </p:nvPr>
        </p:nvSpPr>
        <p:spPr>
          <a:xfrm>
            <a:off x="369301" y="2411500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26" name="Untertitel 2"/>
          <p:cNvSpPr>
            <a:spLocks noGrp="1"/>
          </p:cNvSpPr>
          <p:nvPr>
            <p:ph type="subTitle" idx="1" hasCustomPrompt="1"/>
            <p:custDataLst>
              <p:tags r:id="rId17"/>
            </p:custDataLst>
          </p:nvPr>
        </p:nvSpPr>
        <p:spPr>
          <a:xfrm>
            <a:off x="369301" y="3133549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10" hasCustomPrompt="1"/>
            <p:custDataLst>
              <p:tags r:id="rId18"/>
            </p:custDataLst>
          </p:nvPr>
        </p:nvSpPr>
        <p:spPr>
          <a:xfrm>
            <a:off x="369301" y="3452532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29" name="Picture 12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0" name="Picture 29" descr="Konzernmarke - Ohne Rundung RGB 241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6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3517978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29263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9451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light blue circle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438053" y="1371600"/>
            <a:ext cx="1280160" cy="1271244"/>
            <a:chOff x="1443525" y="2514600"/>
            <a:chExt cx="613875" cy="609600"/>
          </a:xfrm>
        </p:grpSpPr>
        <p:sp>
          <p:nvSpPr>
            <p:cNvPr id="3" name="Oval 2"/>
            <p:cNvSpPr/>
            <p:nvPr/>
          </p:nvSpPr>
          <p:spPr bwMode="gray">
            <a:xfrm>
              <a:off x="1447800" y="2514600"/>
              <a:ext cx="609600" cy="609600"/>
            </a:xfrm>
            <a:prstGeom prst="ellipse">
              <a:avLst/>
            </a:prstGeom>
            <a:solidFill>
              <a:srgbClr val="57ABE1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4000" tIns="72000" rIns="18000" bIns="91440" rtlCol="0" anchor="ctr"/>
            <a:lstStyle/>
            <a:p>
              <a:pPr marL="168275" indent="-168275">
                <a:buClr>
                  <a:srgbClr val="000000"/>
                </a:buClr>
                <a:buFont typeface="Wingdings" pitchFamily="2" charset="2"/>
                <a:buChar char="§"/>
              </a:pPr>
              <a:endParaRPr lang="en-US" sz="1400" dirty="0" err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 bwMode="auto">
            <a:xfrm>
              <a:off x="1443525" y="2514600"/>
              <a:ext cx="609600" cy="6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kern="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5" name="Oval 4"/>
          <p:cNvSpPr/>
          <p:nvPr userDrawn="1">
            <p:custDataLst>
              <p:tags r:id="rId2"/>
            </p:custDataLst>
          </p:nvPr>
        </p:nvSpPr>
        <p:spPr bwMode="gray">
          <a:xfrm>
            <a:off x="2590800" y="947051"/>
            <a:ext cx="2133600" cy="2133600"/>
          </a:xfrm>
          <a:prstGeom prst="ellipse">
            <a:avLst/>
          </a:prstGeom>
          <a:solidFill>
            <a:srgbClr val="57ABE1"/>
          </a:solidFill>
          <a:ln w="6350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algn="ctr">
              <a:buClr>
                <a:srgbClr val="000000"/>
              </a:buClr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 userDrawn="1"/>
        </p:nvSpPr>
        <p:spPr bwMode="gray">
          <a:xfrm rot="5400000">
            <a:off x="4121823" y="2616845"/>
            <a:ext cx="4248472" cy="1062118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>
              <a:buClr>
                <a:srgbClr val="000000"/>
              </a:buClr>
              <a:buFont typeface="Wingdings" pitchFamily="2" charset="2"/>
              <a:buChar char="§"/>
            </a:pPr>
            <a:endParaRPr lang="en-US" sz="1400" dirty="0" err="1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1537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08" y="762000"/>
            <a:ext cx="1152146" cy="11521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0441" y="762000"/>
            <a:ext cx="1091186" cy="129540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137" y="762000"/>
            <a:ext cx="1152146" cy="115214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102" y="774357"/>
            <a:ext cx="1225298" cy="11521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380" y="4008405"/>
            <a:ext cx="1295403" cy="129540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469" y="4224813"/>
            <a:ext cx="1405131" cy="8625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7425" y="2658141"/>
            <a:ext cx="1088138" cy="127406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589" y="4296442"/>
            <a:ext cx="1511811" cy="71932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0" y="2718814"/>
            <a:ext cx="1584963" cy="9387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17" y="2809017"/>
            <a:ext cx="1246635" cy="97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4079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699405"/>
            <a:ext cx="1456947" cy="7620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289" y="2297586"/>
            <a:ext cx="1438659" cy="154838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2352449"/>
            <a:ext cx="649225" cy="143865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507381"/>
            <a:ext cx="719329" cy="95402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834658"/>
            <a:ext cx="1438659" cy="97231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650513"/>
            <a:ext cx="1078994" cy="115214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44188"/>
            <a:ext cx="1008890" cy="136855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560597"/>
            <a:ext cx="1438659" cy="1152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3105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819" y="2608375"/>
            <a:ext cx="1438659" cy="143865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2758857"/>
            <a:ext cx="719329" cy="14264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18853"/>
            <a:ext cx="1152146" cy="136855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039" y="955093"/>
            <a:ext cx="1728220" cy="9357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400" y="2746665"/>
            <a:ext cx="719329" cy="143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1024822"/>
            <a:ext cx="1871476" cy="8625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3" y="2636937"/>
            <a:ext cx="1728220" cy="154838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3" y="2547020"/>
            <a:ext cx="1152146" cy="172822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2486456"/>
            <a:ext cx="719329" cy="168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1719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851" y="934212"/>
            <a:ext cx="1728220" cy="7193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053" y="699516"/>
            <a:ext cx="1216154" cy="118872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609600"/>
            <a:ext cx="862586" cy="13685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3617"/>
            <a:ext cx="1548387" cy="79248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04" y="2935413"/>
            <a:ext cx="1655067" cy="100889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700716"/>
            <a:ext cx="1444755" cy="147828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2827209"/>
            <a:ext cx="1225298" cy="1225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616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10" y="307619"/>
            <a:ext cx="891847" cy="240670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5" y="274096"/>
            <a:ext cx="780899" cy="24301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31" y="307619"/>
            <a:ext cx="748895" cy="24067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1" y="274096"/>
            <a:ext cx="915317" cy="24301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9" y="362489"/>
            <a:ext cx="847041" cy="23683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73" y="3167172"/>
            <a:ext cx="891847" cy="23192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705" y="3167172"/>
            <a:ext cx="748895" cy="23192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864" y="3999278"/>
            <a:ext cx="541936" cy="148712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3621630"/>
            <a:ext cx="968656" cy="186477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175" y="3167172"/>
            <a:ext cx="876912" cy="231922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18" y="3873395"/>
            <a:ext cx="1446584" cy="161300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3167172"/>
            <a:ext cx="704089" cy="231922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3167172"/>
            <a:ext cx="902515" cy="2319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5826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Final We are 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7"/>
            <a:ext cx="9144000" cy="6857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0566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363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6" descr="Dialogfelder_Hell_KU_kurz-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0200" y="559697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itel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69301" y="688145"/>
            <a:ext cx="5988648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Title: TKType Medium, 24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69301" y="1048244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Subtitle: TKType Medium, 24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69301" y="1367227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baseline="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: TKType Medium, 14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2198911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-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noProof="0" dirty="0" smtClean="0"/>
              <a:t>Click to edit sub title master</a:t>
            </a:r>
            <a:endParaRPr lang="en-US" noProof="0" dirty="0" smtClean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268314" y="265113"/>
            <a:ext cx="8608985" cy="277812"/>
          </a:xfrm>
        </p:spPr>
        <p:txBody>
          <a:bodyPr/>
          <a:lstStyle>
            <a:lvl1pPr marL="0" indent="0">
              <a:buFont typeface="Wingdings" pitchFamily="2" charset="2"/>
              <a:buNone/>
              <a:defRPr baseline="0"/>
            </a:lvl1pPr>
          </a:lstStyle>
          <a:p>
            <a:r>
              <a:rPr lang="de-DE" noProof="0" dirty="0" smtClean="0"/>
              <a:t>Click to edit title mas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84754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581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9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" name="Titel 1"/>
          <p:cNvSpPr>
            <a:spLocks noGrp="1"/>
          </p:cNvSpPr>
          <p:nvPr>
            <p:ph type="ctrTitle" hasCustomPrompt="1"/>
          </p:nvPr>
        </p:nvSpPr>
        <p:spPr>
          <a:xfrm>
            <a:off x="369301" y="688145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9301" y="1420201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baseline="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369301" y="1921653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9" name="Picture 8" descr="Konzernmarke - Ohne Rundung RGB 241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6"/>
          <p:cNvSpPr txBox="1">
            <a:spLocks noChangeArrowheads="1"/>
          </p:cNvSpPr>
          <p:nvPr userDrawn="1"/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157467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with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48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3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9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2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2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556125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4" descr="DockingA380 Dubai 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848475" y="0"/>
            <a:ext cx="2295525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 descr="Dialogfelder_Hell_KU_kurz-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30200" y="2366963"/>
            <a:ext cx="8482013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 flipV="1">
            <a:off x="6859588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8" name="Picture 20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877050" y="0"/>
            <a:ext cx="2295525" cy="1733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9" name="Line 15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>
            <a:off x="0" y="1727200"/>
            <a:ext cx="91440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" name="Picture 29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0" y="0"/>
            <a:ext cx="2255838" cy="1716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1" name="Picture 30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279650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2" name="Line 11"/>
          <p:cNvSpPr>
            <a:spLocks noChangeShapeType="1"/>
          </p:cNvSpPr>
          <p:nvPr userDrawn="1">
            <p:custDataLst>
              <p:tags r:id="rId13"/>
            </p:custDataLst>
          </p:nvPr>
        </p:nvSpPr>
        <p:spPr bwMode="auto">
          <a:xfrm flipV="1">
            <a:off x="2276475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3" name="Line 12"/>
          <p:cNvSpPr>
            <a:spLocks noChangeShapeType="1"/>
          </p:cNvSpPr>
          <p:nvPr userDrawn="1">
            <p:custDataLst>
              <p:tags r:id="rId14"/>
            </p:custDataLst>
          </p:nvPr>
        </p:nvSpPr>
        <p:spPr bwMode="auto">
          <a:xfrm flipV="1">
            <a:off x="4572000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4" name="Rectangle 31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4284663" y="4149725"/>
            <a:ext cx="2346325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ctrTitle" hasCustomPrompt="1"/>
            <p:custDataLst>
              <p:tags r:id="rId16"/>
            </p:custDataLst>
          </p:nvPr>
        </p:nvSpPr>
        <p:spPr>
          <a:xfrm>
            <a:off x="369301" y="2411500"/>
            <a:ext cx="5988648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0" bIns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400" kern="1200" baseline="0" dirty="0">
                <a:solidFill>
                  <a:schemeClr val="tx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r>
              <a:rPr lang="de-DE" dirty="0" smtClean="0"/>
              <a:t>Click to edit title master</a:t>
            </a:r>
            <a:br>
              <a:rPr lang="de-DE" dirty="0" smtClean="0"/>
            </a:br>
            <a:r>
              <a:rPr lang="de-DE" dirty="0" smtClean="0"/>
              <a:t>Second line for long titles</a:t>
            </a:r>
            <a:endParaRPr lang="de-DE" dirty="0"/>
          </a:p>
        </p:txBody>
      </p:sp>
      <p:sp>
        <p:nvSpPr>
          <p:cNvPr id="26" name="Untertitel 2"/>
          <p:cNvSpPr>
            <a:spLocks noGrp="1"/>
          </p:cNvSpPr>
          <p:nvPr>
            <p:ph type="subTitle" idx="1" hasCustomPrompt="1"/>
            <p:custDataLst>
              <p:tags r:id="rId17"/>
            </p:custDataLst>
          </p:nvPr>
        </p:nvSpPr>
        <p:spPr>
          <a:xfrm>
            <a:off x="369301" y="3133549"/>
            <a:ext cx="598864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DE" sz="2400" kern="1200" dirty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Click to edit sub title master</a:t>
            </a:r>
            <a:endParaRPr lang="de-DE" dirty="0"/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10" hasCustomPrompt="1"/>
            <p:custDataLst>
              <p:tags r:id="rId18"/>
            </p:custDataLst>
          </p:nvPr>
        </p:nvSpPr>
        <p:spPr>
          <a:xfrm>
            <a:off x="369301" y="3452532"/>
            <a:ext cx="5988649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0" bIns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de-DE" sz="1400" kern="1200" dirty="0" smtClean="0">
                <a:solidFill>
                  <a:srgbClr val="515151"/>
                </a:solidFill>
                <a:latin typeface="TKTypeMedium" pitchFamily="34" charset="0"/>
                <a:ea typeface="AppleGothic" pitchFamily="28" charset="-127"/>
                <a:cs typeface="+mn-cs"/>
              </a:defRPr>
            </a:lvl1pPr>
          </a:lstStyle>
          <a:p>
            <a:pPr lvl="0"/>
            <a:r>
              <a:rPr lang="de-DE" dirty="0" smtClean="0"/>
              <a:t>Presenter - place, date</a:t>
            </a:r>
          </a:p>
        </p:txBody>
      </p:sp>
      <p:pic>
        <p:nvPicPr>
          <p:cNvPr id="29" name="Picture 12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0" name="Picture 29" descr="Konzernmarke - Ohne Rundung RGB 241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6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</p:spTree>
    <p:extLst>
      <p:ext uri="{BB962C8B-B14F-4D97-AF65-F5344CB8AC3E}">
        <p14:creationId xmlns:p14="http://schemas.microsoft.com/office/powerpoint/2010/main" val="490344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- title, sub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4638" y="1089025"/>
            <a:ext cx="8596313" cy="46815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71966" tIns="71966" rIns="71966" bIns="71966">
            <a:noAutofit/>
          </a:bodyPr>
          <a:lstStyle>
            <a:lvl1pPr marL="182475" indent="-1824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è"/>
              <a:defRPr lang="de-DE" sz="1400" kern="1200" smtClean="0">
                <a:solidFill>
                  <a:schemeClr val="bg1"/>
                </a:solidFill>
                <a:latin typeface="TKTypeMedium" pitchFamily="34" charset="0"/>
                <a:ea typeface="+mn-ea"/>
                <a:cs typeface="+mn-cs"/>
              </a:defRPr>
            </a:lvl1pPr>
            <a:lvl2pPr marL="358603" indent="-176129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è"/>
              <a:defRPr lang="de-DE" sz="1400" kern="1200" smtClean="0">
                <a:solidFill>
                  <a:schemeClr val="bg1"/>
                </a:solidFill>
                <a:latin typeface="TKTypeMedium" pitchFamily="34" charset="0"/>
                <a:ea typeface="+mn-ea"/>
                <a:cs typeface="+mn-cs"/>
              </a:defRPr>
            </a:lvl2pPr>
            <a:lvl3pPr marL="177716" indent="-177716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475" indent="-1824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716" indent="-177716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Click to edit text master</a:t>
            </a:r>
          </a:p>
          <a:p>
            <a:pPr lvl="1"/>
            <a:r>
              <a:rPr lang="de-DE" dirty="0" smtClean="0"/>
              <a:t>Second level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lvl="0"/>
            <a:r>
              <a:rPr lang="de-DE" dirty="0" smtClean="0"/>
              <a:t>Click to edit sub title master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4210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lvl="0"/>
            <a:r>
              <a:rPr lang="de-DE" dirty="0" smtClean="0"/>
              <a:t>Click to edit sub title master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8267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to edit title 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22673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320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light blue circle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438053" y="1371600"/>
            <a:ext cx="1280160" cy="1271244"/>
            <a:chOff x="1443525" y="2514600"/>
            <a:chExt cx="613875" cy="609600"/>
          </a:xfrm>
        </p:grpSpPr>
        <p:sp>
          <p:nvSpPr>
            <p:cNvPr id="3" name="Oval 2"/>
            <p:cNvSpPr/>
            <p:nvPr/>
          </p:nvSpPr>
          <p:spPr bwMode="gray">
            <a:xfrm>
              <a:off x="1447800" y="2514600"/>
              <a:ext cx="609600" cy="609600"/>
            </a:xfrm>
            <a:prstGeom prst="ellipse">
              <a:avLst/>
            </a:prstGeom>
            <a:solidFill>
              <a:srgbClr val="57ABE1"/>
            </a:soli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4000" tIns="72000" rIns="18000" bIns="91440" rtlCol="0" anchor="ctr"/>
            <a:lstStyle/>
            <a:p>
              <a:pPr marL="168275" indent="-168275">
                <a:buClr>
                  <a:srgbClr val="000000"/>
                </a:buClr>
                <a:buFont typeface="Wingdings" pitchFamily="2" charset="2"/>
                <a:buChar char="§"/>
              </a:pPr>
              <a:endParaRPr lang="en-US" sz="1400" dirty="0" err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 bwMode="auto">
            <a:xfrm>
              <a:off x="1443525" y="2514600"/>
              <a:ext cx="609600" cy="6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kern="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5" name="Oval 4"/>
          <p:cNvSpPr/>
          <p:nvPr userDrawn="1">
            <p:custDataLst>
              <p:tags r:id="rId2"/>
            </p:custDataLst>
          </p:nvPr>
        </p:nvSpPr>
        <p:spPr bwMode="gray">
          <a:xfrm>
            <a:off x="2590800" y="947051"/>
            <a:ext cx="2133600" cy="2133600"/>
          </a:xfrm>
          <a:prstGeom prst="ellipse">
            <a:avLst/>
          </a:prstGeom>
          <a:solidFill>
            <a:srgbClr val="57ABE1"/>
          </a:solidFill>
          <a:ln w="6350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algn="ctr">
              <a:buClr>
                <a:srgbClr val="000000"/>
              </a:buClr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 userDrawn="1"/>
        </p:nvSpPr>
        <p:spPr bwMode="gray">
          <a:xfrm rot="5400000">
            <a:off x="4121823" y="2616845"/>
            <a:ext cx="4248472" cy="1062118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>
              <a:buClr>
                <a:srgbClr val="000000"/>
              </a:buClr>
              <a:buFont typeface="Wingdings" pitchFamily="2" charset="2"/>
              <a:buChar char="§"/>
            </a:pPr>
            <a:endParaRPr lang="en-US" sz="1400" dirty="0" err="1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0583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08" y="762000"/>
            <a:ext cx="1152146" cy="11521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0441" y="762000"/>
            <a:ext cx="1091186" cy="129540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137" y="762000"/>
            <a:ext cx="1152146" cy="115214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102" y="774357"/>
            <a:ext cx="1225298" cy="11521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380" y="4008405"/>
            <a:ext cx="1295403" cy="129540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469" y="4224813"/>
            <a:ext cx="1405131" cy="8625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7425" y="2658141"/>
            <a:ext cx="1088138" cy="127406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589" y="4296442"/>
            <a:ext cx="1511811" cy="71932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0" y="2718814"/>
            <a:ext cx="1584963" cy="93878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17" y="2809017"/>
            <a:ext cx="1246635" cy="97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1093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699405"/>
            <a:ext cx="1456947" cy="76200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289" y="2297586"/>
            <a:ext cx="1438659" cy="154838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2352449"/>
            <a:ext cx="649225" cy="143865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507381"/>
            <a:ext cx="719329" cy="95402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834658"/>
            <a:ext cx="1438659" cy="97231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650513"/>
            <a:ext cx="1078994" cy="115214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44188"/>
            <a:ext cx="1008890" cy="136855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560597"/>
            <a:ext cx="1438659" cy="1152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5972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819" y="2608375"/>
            <a:ext cx="1438659" cy="143865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2758857"/>
            <a:ext cx="719329" cy="14264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18853"/>
            <a:ext cx="1152146" cy="136855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039" y="955093"/>
            <a:ext cx="1728220" cy="9357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400" y="2746665"/>
            <a:ext cx="719329" cy="143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1024822"/>
            <a:ext cx="1871476" cy="8625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3" y="2636937"/>
            <a:ext cx="1728220" cy="154838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3" y="2547020"/>
            <a:ext cx="1152146" cy="172822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2486456"/>
            <a:ext cx="719329" cy="168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308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- white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4637" y="1052512"/>
            <a:ext cx="8596313" cy="4752975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smtClean="0">
                <a:solidFill>
                  <a:schemeClr val="tx1"/>
                </a:solidFill>
                <a:latin typeface="TKTypeMedium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baseline="0" smtClean="0">
                <a:solidFill>
                  <a:schemeClr val="tx1"/>
                </a:solidFill>
                <a:latin typeface="TKTypeMedium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text master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noProof="0" dirty="0" smtClean="0"/>
              <a:t>Click to edit sub title master</a:t>
            </a:r>
            <a:endParaRPr lang="en-US" noProof="0" dirty="0" smtClean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dirty="0" smtClean="0"/>
              <a:t>Click to edit title mas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51185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851" y="934212"/>
            <a:ext cx="1728220" cy="7193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053" y="699516"/>
            <a:ext cx="1216154" cy="118872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609600"/>
            <a:ext cx="862586" cy="13685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3617"/>
            <a:ext cx="1548387" cy="79248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004" y="2935413"/>
            <a:ext cx="1655067" cy="100889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700716"/>
            <a:ext cx="1444755" cy="147828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2827209"/>
            <a:ext cx="1225298" cy="1225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0240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ue - icons cop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10" y="307619"/>
            <a:ext cx="891847" cy="240670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5" y="274096"/>
            <a:ext cx="780899" cy="24301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31" y="307619"/>
            <a:ext cx="748895" cy="24067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1" y="274096"/>
            <a:ext cx="915317" cy="24301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9" y="362489"/>
            <a:ext cx="847041" cy="23683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73" y="3167172"/>
            <a:ext cx="891847" cy="23192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705" y="3167172"/>
            <a:ext cx="748895" cy="23192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864" y="3999278"/>
            <a:ext cx="541936" cy="148712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3621630"/>
            <a:ext cx="968656" cy="186477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175" y="3167172"/>
            <a:ext cx="876912" cy="231922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18" y="3873395"/>
            <a:ext cx="1446584" cy="161300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3167172"/>
            <a:ext cx="704089" cy="231922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3167172"/>
            <a:ext cx="902515" cy="2319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024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 - Final We are 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/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4000" tIns="72000" rIns="18000" bIns="91440" anchor="ctr"/>
          <a:lstStyle/>
          <a:p>
            <a:pPr marL="168275" indent="-16827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7"/>
            <a:ext cx="9144000" cy="6857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43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- white textbox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876" y="1052494"/>
            <a:ext cx="8601076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rm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noProof="0" dirty="0" smtClean="0"/>
              <a:t>Click to edit text master</a:t>
            </a:r>
          </a:p>
        </p:txBody>
      </p:sp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69876" y="1412875"/>
            <a:ext cx="8599488" cy="4392613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baseline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text master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noProof="0" dirty="0" smtClean="0"/>
              <a:t>Click to edit sub title master</a:t>
            </a:r>
            <a:endParaRPr lang="en-US" noProof="0" dirty="0" smtClean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Click to edit title mas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5927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- 2 white box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1038239"/>
            <a:ext cx="4187825" cy="3746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rm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noProof="0" dirty="0" smtClean="0"/>
              <a:t>Click to edit text master</a:t>
            </a:r>
          </a:p>
        </p:txBody>
      </p:sp>
      <p:sp>
        <p:nvSpPr>
          <p:cNvPr id="15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4637" y="1412874"/>
            <a:ext cx="4183063" cy="4392614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baseline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text master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86299" y="1038239"/>
            <a:ext cx="4189413" cy="37463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rm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noProof="0" dirty="0" smtClean="0"/>
              <a:t>Click to edit text master</a:t>
            </a:r>
          </a:p>
        </p:txBody>
      </p:sp>
      <p:sp>
        <p:nvSpPr>
          <p:cNvPr id="16" name="Inhaltsplatzhalter 5"/>
          <p:cNvSpPr>
            <a:spLocks noGrp="1"/>
          </p:cNvSpPr>
          <p:nvPr>
            <p:ph sz="quarter" idx="17" hasCustomPrompt="1"/>
          </p:nvPr>
        </p:nvSpPr>
        <p:spPr>
          <a:xfrm>
            <a:off x="4686300" y="1412874"/>
            <a:ext cx="4183938" cy="4392614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baseline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baseline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text master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noProof="0" dirty="0" smtClean="0"/>
              <a:t>Click to edit sub title master</a:t>
            </a:r>
            <a:endParaRPr lang="en-US" noProof="0" dirty="0" smtClean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Click to edit title mas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41138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- 2 white boxes with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noProof="0" dirty="0" smtClean="0"/>
              <a:t>Click to edit sub title master</a:t>
            </a:r>
            <a:endParaRPr lang="en-US" noProof="0" dirty="0" smtClean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Click to edit title master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1046480"/>
            <a:ext cx="3911280" cy="3663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rm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itchFamily="2" charset="2"/>
              <a:buNone/>
            </a:pPr>
            <a:r>
              <a:rPr lang="de-DE" noProof="0" dirty="0" smtClean="0"/>
              <a:t>Click to edit text master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4638" y="1412876"/>
            <a:ext cx="3911280" cy="4392612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>
              <a:defRPr lang="en-US" sz="1400" kern="1200" baseline="0" noProof="0" dirty="0" smtClean="0">
                <a:latin typeface="TKTypeRegular" pitchFamily="34" charset="0"/>
              </a:defRPr>
            </a:lvl1pPr>
            <a:lvl2pPr>
              <a:defRPr lang="en-US" kern="1200" noProof="0" dirty="0" smtClean="0">
                <a:latin typeface="TKTypeRegular" pitchFamily="34" charset="0"/>
                <a:ea typeface="+mn-ea"/>
                <a:cs typeface="+mn-cs"/>
              </a:defRPr>
            </a:lvl2pPr>
          </a:lstStyle>
          <a:p>
            <a:pPr lvl="0" eaLnBrk="0" hangingPunct="0">
              <a:spcBef>
                <a:spcPct val="0"/>
              </a:spcBef>
              <a:buSzPct val="80000"/>
              <a:buChar char="è"/>
            </a:pPr>
            <a:r>
              <a:rPr lang="en-US" noProof="0" dirty="0" smtClean="0"/>
              <a:t>Click to edit text master</a:t>
            </a:r>
          </a:p>
          <a:p>
            <a:pPr marL="358775" lvl="1" indent="-176213" eaLnBrk="0" hangingPunct="0">
              <a:spcBef>
                <a:spcPct val="0"/>
              </a:spcBef>
              <a:buChar char="è"/>
            </a:pPr>
            <a:r>
              <a:rPr lang="en-US" noProof="0" dirty="0" smtClean="0"/>
              <a:t>Second lev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959670" y="1046480"/>
            <a:ext cx="3911280" cy="3663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rm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Wingdings" pitchFamily="2" charset="2"/>
              <a:buNone/>
            </a:pPr>
            <a:r>
              <a:rPr lang="de-DE" noProof="0" dirty="0" smtClean="0"/>
              <a:t>Click to edit text master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7" hasCustomPrompt="1"/>
          </p:nvPr>
        </p:nvSpPr>
        <p:spPr>
          <a:xfrm>
            <a:off x="4959670" y="1412876"/>
            <a:ext cx="3911280" cy="4392612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>
              <a:defRPr lang="en-US" sz="1400" kern="1200" baseline="0" noProof="0" smtClean="0">
                <a:latin typeface="TKTypeRegular" pitchFamily="34" charset="0"/>
              </a:defRPr>
            </a:lvl1pPr>
            <a:lvl2pPr>
              <a:defRPr lang="en-US" kern="1200" noProof="0" smtClean="0">
                <a:latin typeface="TKTypeRegular" pitchFamily="34" charset="0"/>
                <a:ea typeface="+mn-ea"/>
                <a:cs typeface="+mn-cs"/>
              </a:defRPr>
            </a:lvl2pPr>
          </a:lstStyle>
          <a:p>
            <a:pPr lvl="0" eaLnBrk="0" hangingPunct="0">
              <a:spcBef>
                <a:spcPct val="0"/>
              </a:spcBef>
              <a:buSzPct val="80000"/>
              <a:buChar char="è"/>
            </a:pPr>
            <a:r>
              <a:rPr lang="en-US" noProof="0" dirty="0" smtClean="0"/>
              <a:t>Click to edit text master</a:t>
            </a:r>
          </a:p>
          <a:p>
            <a:pPr marL="358775" lvl="1" indent="-176213" eaLnBrk="0" hangingPunct="0">
              <a:spcBef>
                <a:spcPct val="0"/>
              </a:spcBef>
              <a:buChar char="è"/>
            </a:pPr>
            <a:r>
              <a:rPr lang="en-US" noProof="0" dirty="0" smtClean="0"/>
              <a:t>Second level</a:t>
            </a:r>
          </a:p>
        </p:txBody>
      </p:sp>
      <p:sp>
        <p:nvSpPr>
          <p:cNvPr id="18" name="AutoShape 20"/>
          <p:cNvSpPr>
            <a:spLocks noChangeArrowheads="1"/>
          </p:cNvSpPr>
          <p:nvPr userDrawn="1"/>
        </p:nvSpPr>
        <p:spPr bwMode="auto">
          <a:xfrm rot="5400000" flipH="1">
            <a:off x="2238950" y="3345877"/>
            <a:ext cx="4676774" cy="223398"/>
          </a:xfrm>
          <a:prstGeom prst="triangle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 userDrawn="1"/>
        </p:nvSpPr>
        <p:spPr bwMode="auto">
          <a:xfrm rot="5400000" flipH="1">
            <a:off x="2238950" y="3345877"/>
            <a:ext cx="4676774" cy="223398"/>
          </a:xfrm>
          <a:prstGeom prst="triangle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671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- 3 whit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06" y="653984"/>
            <a:ext cx="8604244" cy="29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buNone/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TKTypeMedium" pitchFamily="34" charset="0"/>
                <a:ea typeface="AppleGothic" pitchFamily="28" charset="-127"/>
                <a:cs typeface="Apple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u="none" noProof="0" dirty="0" smtClean="0"/>
              <a:t>Click to edit sub title master</a:t>
            </a:r>
            <a:endParaRPr lang="en-US" noProof="0" dirty="0" smtClean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Click to edit title master</a:t>
            </a:r>
            <a:endParaRPr lang="en-US" noProof="0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462" y="1046480"/>
            <a:ext cx="2769555" cy="3663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noProof="0" dirty="0" smtClean="0"/>
              <a:t>Click to edit text master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1462" y="1412874"/>
            <a:ext cx="2769555" cy="4392613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è"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0" hangingPunct="0">
              <a:spcBef>
                <a:spcPct val="0"/>
              </a:spcBef>
              <a:buSzPct val="80000"/>
              <a:buChar char="è"/>
            </a:pPr>
            <a:r>
              <a:rPr lang="en-US" noProof="0" dirty="0" smtClean="0"/>
              <a:t>Click to edit text master</a:t>
            </a:r>
          </a:p>
          <a:p>
            <a:pPr marL="358775" lvl="1" indent="-176213" eaLnBrk="0" hangingPunct="0">
              <a:spcBef>
                <a:spcPct val="0"/>
              </a:spcBef>
              <a:buChar char="è"/>
            </a:pPr>
            <a:r>
              <a:rPr lang="en-US" noProof="0" dirty="0" smtClean="0"/>
              <a:t>Second level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175315" y="1046480"/>
            <a:ext cx="2769555" cy="3663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noProof="0" dirty="0" smtClean="0"/>
              <a:t>Click to edit text master</a:t>
            </a:r>
          </a:p>
        </p:txBody>
      </p:sp>
      <p:sp>
        <p:nvSpPr>
          <p:cNvPr id="16" name="Inhaltsplatzhalter 5"/>
          <p:cNvSpPr>
            <a:spLocks noGrp="1"/>
          </p:cNvSpPr>
          <p:nvPr>
            <p:ph sz="quarter" idx="17" hasCustomPrompt="1"/>
          </p:nvPr>
        </p:nvSpPr>
        <p:spPr>
          <a:xfrm>
            <a:off x="3175315" y="1412874"/>
            <a:ext cx="2769555" cy="4392613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è"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0" hangingPunct="0">
              <a:spcBef>
                <a:spcPct val="0"/>
              </a:spcBef>
              <a:buSzPct val="80000"/>
              <a:buChar char="è"/>
            </a:pPr>
            <a:r>
              <a:rPr lang="en-US" noProof="0" dirty="0" smtClean="0"/>
              <a:t>Click to edit text master</a:t>
            </a:r>
          </a:p>
          <a:p>
            <a:pPr marL="358775" lvl="1" indent="-176213" eaLnBrk="0" hangingPunct="0">
              <a:spcBef>
                <a:spcPct val="0"/>
              </a:spcBef>
              <a:buChar char="è"/>
            </a:pPr>
            <a:r>
              <a:rPr lang="en-US" noProof="0" dirty="0" smtClean="0"/>
              <a:t>Second level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88694" y="1046480"/>
            <a:ext cx="2769555" cy="3663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>
            <a:noAutofit/>
          </a:bodyPr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ClrTx/>
              <a:buNone/>
              <a:defRPr lang="de-DE" sz="1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noProof="0" dirty="0" smtClean="0"/>
              <a:t>Click to edit text master</a:t>
            </a:r>
          </a:p>
        </p:txBody>
      </p:sp>
      <p:sp>
        <p:nvSpPr>
          <p:cNvPr id="21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6088694" y="1412874"/>
            <a:ext cx="2769555" cy="4392613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>
            <a:lvl1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è"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1pPr>
            <a:lvl2pPr marL="358775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è"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2pPr>
            <a:lvl3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3pPr>
            <a:lvl4pPr marL="182563" indent="-18256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4pPr>
            <a:lvl5pPr marL="17780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de-DE" sz="1400" kern="1200" dirty="0" smtClean="0">
                <a:solidFill>
                  <a:schemeClr val="tx1"/>
                </a:solidFill>
                <a:latin typeface="TKTypeRegular" pitchFamily="34" charset="0"/>
                <a:ea typeface="+mn-ea"/>
                <a:cs typeface="+mn-cs"/>
              </a:defRPr>
            </a:lvl5pPr>
            <a:lvl6pPr>
              <a:buNone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0" hangingPunct="0">
              <a:spcBef>
                <a:spcPct val="0"/>
              </a:spcBef>
              <a:buSzPct val="80000"/>
              <a:buChar char="è"/>
            </a:pPr>
            <a:r>
              <a:rPr lang="en-US" noProof="0" dirty="0" smtClean="0"/>
              <a:t>Click to edit text master</a:t>
            </a:r>
          </a:p>
          <a:p>
            <a:pPr marL="358775" lvl="1" indent="-176213" eaLnBrk="0" hangingPunct="0">
              <a:spcBef>
                <a:spcPct val="0"/>
              </a:spcBef>
              <a:buChar char="è"/>
            </a:pPr>
            <a:r>
              <a:rPr lang="en-US" noProof="0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95243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12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ags" Target="../tags/tag66.xml"/><Relationship Id="rId2" Type="http://schemas.openxmlformats.org/officeDocument/2006/relationships/slideLayout" Target="../slideLayouts/slideLayout26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ags" Target="../tags/tag100.xml"/><Relationship Id="rId2" Type="http://schemas.openxmlformats.org/officeDocument/2006/relationships/slideLayout" Target="../slideLayouts/slideLayout40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5C6C8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19" name="AutoShape 22"/>
          <p:cNvSpPr>
            <a:spLocks noChangeArrowheads="1"/>
          </p:cNvSpPr>
          <p:nvPr/>
        </p:nvSpPr>
        <p:spPr bwMode="auto">
          <a:xfrm>
            <a:off x="142875" y="5638800"/>
            <a:ext cx="8858250" cy="1066800"/>
          </a:xfrm>
          <a:prstGeom prst="roundRect">
            <a:avLst>
              <a:gd name="adj" fmla="val 5037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AutoShape 34"/>
          <p:cNvSpPr>
            <a:spLocks noChangeArrowheads="1"/>
          </p:cNvSpPr>
          <p:nvPr/>
        </p:nvSpPr>
        <p:spPr bwMode="auto">
          <a:xfrm>
            <a:off x="142875" y="152400"/>
            <a:ext cx="8858250" cy="5797550"/>
          </a:xfrm>
          <a:prstGeom prst="roundRect">
            <a:avLst>
              <a:gd name="adj" fmla="val 685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marL="285750" indent="-285750" algn="ctr">
              <a:buFont typeface="Wingdings" pitchFamily="2" charset="2"/>
              <a:buChar char="è"/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 24"/>
          <p:cNvSpPr>
            <a:spLocks noChangeArrowheads="1"/>
          </p:cNvSpPr>
          <p:nvPr/>
        </p:nvSpPr>
        <p:spPr bwMode="white">
          <a:xfrm>
            <a:off x="142875" y="5876925"/>
            <a:ext cx="8858250" cy="73025"/>
          </a:xfrm>
          <a:prstGeom prst="rect">
            <a:avLst/>
          </a:prstGeom>
          <a:solidFill>
            <a:srgbClr val="F1F1F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4" name="AutoShape 26"/>
          <p:cNvSpPr>
            <a:spLocks noChangeArrowheads="1"/>
          </p:cNvSpPr>
          <p:nvPr/>
        </p:nvSpPr>
        <p:spPr bwMode="ltGray">
          <a:xfrm>
            <a:off x="7272338" y="6057900"/>
            <a:ext cx="1728788" cy="647700"/>
          </a:xfrm>
          <a:prstGeom prst="roundRect">
            <a:avLst>
              <a:gd name="adj" fmla="val 6370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5" name="AutoShape 27"/>
          <p:cNvSpPr>
            <a:spLocks noChangeArrowheads="1"/>
          </p:cNvSpPr>
          <p:nvPr/>
        </p:nvSpPr>
        <p:spPr bwMode="ltGray">
          <a:xfrm>
            <a:off x="5543550" y="6237288"/>
            <a:ext cx="1836738" cy="468313"/>
          </a:xfrm>
          <a:prstGeom prst="roundRect">
            <a:avLst>
              <a:gd name="adj" fmla="val 9491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 eaLnBrk="0" hangingPunct="0">
              <a:defRPr/>
            </a:pPr>
            <a:endParaRPr lang="de-DE" sz="2000" kern="0" dirty="0">
              <a:solidFill>
                <a:sysClr val="windowText" lastClr="000000"/>
              </a:solidFill>
            </a:endParaRPr>
          </a:p>
        </p:txBody>
      </p:sp>
      <p:pic>
        <p:nvPicPr>
          <p:cNvPr id="27" name="Picture 29" descr="090812_TKLogo3d_4C5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380288" y="6169025"/>
            <a:ext cx="1527175" cy="442913"/>
          </a:xfrm>
          <a:prstGeom prst="rect">
            <a:avLst/>
          </a:prstGeom>
          <a:noFill/>
        </p:spPr>
      </p:pic>
      <p:sp>
        <p:nvSpPr>
          <p:cNvPr id="28" name="Rectangle 30"/>
          <p:cNvSpPr>
            <a:spLocks noChangeArrowheads="1"/>
          </p:cNvSpPr>
          <p:nvPr/>
        </p:nvSpPr>
        <p:spPr bwMode="ltGray">
          <a:xfrm>
            <a:off x="7164388" y="6165850"/>
            <a:ext cx="107950" cy="71438"/>
          </a:xfrm>
          <a:prstGeom prst="rect">
            <a:avLst/>
          </a:prstGeom>
          <a:solidFill>
            <a:srgbClr val="F1F1F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9" name="AutoShape 31"/>
          <p:cNvSpPr>
            <a:spLocks noChangeArrowheads="1"/>
          </p:cNvSpPr>
          <p:nvPr/>
        </p:nvSpPr>
        <p:spPr bwMode="white">
          <a:xfrm>
            <a:off x="5543550" y="6057900"/>
            <a:ext cx="1728788" cy="179388"/>
          </a:xfrm>
          <a:prstGeom prst="roundRect">
            <a:avLst>
              <a:gd name="adj" fmla="val 22125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Titelplatzhalter 1"/>
          <p:cNvSpPr>
            <a:spLocks noGrp="1"/>
          </p:cNvSpPr>
          <p:nvPr>
            <p:ph type="title"/>
          </p:nvPr>
        </p:nvSpPr>
        <p:spPr>
          <a:xfrm>
            <a:off x="268314" y="265113"/>
            <a:ext cx="860898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Click to edit title master</a:t>
            </a:r>
            <a:endParaRPr lang="de-DE" dirty="0"/>
          </a:p>
        </p:txBody>
      </p:sp>
      <p:sp>
        <p:nvSpPr>
          <p:cNvPr id="14" name="Text Box 28"/>
          <p:cNvSpPr txBox="1">
            <a:spLocks noChangeAspect="1" noChangeArrowheads="1"/>
          </p:cNvSpPr>
          <p:nvPr/>
        </p:nvSpPr>
        <p:spPr bwMode="auto">
          <a:xfrm>
            <a:off x="5651500" y="6332538"/>
            <a:ext cx="1620838" cy="2873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10800" rIns="0" bIns="0" anchor="b"/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900" kern="0" dirty="0" smtClean="0">
                <a:solidFill>
                  <a:srgbClr val="000000"/>
                </a:solidFill>
                <a:latin typeface="TKTypeBold" pitchFamily="34" charset="0"/>
                <a:ea typeface="+mj-ea"/>
              </a:rPr>
              <a:t>ThyssenKrupp</a:t>
            </a:r>
            <a:r>
              <a:rPr lang="de-DE" sz="900" kern="0" baseline="0" dirty="0" smtClean="0">
                <a:solidFill>
                  <a:srgbClr val="000000"/>
                </a:solidFill>
                <a:latin typeface="TKTypeBold" pitchFamily="34" charset="0"/>
                <a:ea typeface="+mj-ea"/>
              </a:rPr>
              <a:t> </a:t>
            </a:r>
            <a:r>
              <a:rPr lang="de-DE" sz="900" kern="0" dirty="0" smtClean="0">
                <a:solidFill>
                  <a:srgbClr val="000000"/>
                </a:solidFill>
                <a:latin typeface="TKTypeBold" pitchFamily="34" charset="0"/>
                <a:ea typeface="+mj-ea"/>
              </a:rPr>
              <a:t>Elevator</a:t>
            </a:r>
            <a:endParaRPr lang="de-DE" sz="900" kern="0" dirty="0">
              <a:solidFill>
                <a:srgbClr val="000000"/>
              </a:solidFill>
              <a:latin typeface="TKTypeBold" pitchFamily="34" charset="0"/>
              <a:ea typeface="+mj-ea"/>
            </a:endParaRPr>
          </a:p>
        </p:txBody>
      </p:sp>
      <p:sp>
        <p:nvSpPr>
          <p:cNvPr id="15" name="Text Box 57"/>
          <p:cNvSpPr txBox="1">
            <a:spLocks noChangeArrowheads="1"/>
          </p:cNvSpPr>
          <p:nvPr/>
        </p:nvSpPr>
        <p:spPr bwMode="auto">
          <a:xfrm>
            <a:off x="276225" y="6094413"/>
            <a:ext cx="3054350" cy="52937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TKTypeRegular" pitchFamily="34" charset="0"/>
              </a:rPr>
              <a:t>Titl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TKTypeRegular" pitchFamily="34" charset="0"/>
              </a:rPr>
              <a:t>Presenter</a:t>
            </a:r>
            <a:endParaRPr lang="de-DE" sz="800" dirty="0">
              <a:solidFill>
                <a:srgbClr val="000000"/>
              </a:solidFill>
              <a:latin typeface="TKTypeRegular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TKTypeRegular" pitchFamily="34" charset="0"/>
              </a:rPr>
              <a:t>Date </a:t>
            </a:r>
            <a:endParaRPr lang="de-DE" sz="800" dirty="0">
              <a:solidFill>
                <a:srgbClr val="515151"/>
              </a:solidFill>
              <a:latin typeface="TKTypeBold" pitchFamily="34" charset="0"/>
            </a:endParaRPr>
          </a:p>
          <a:p>
            <a:pPr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fld id="{9167A6ED-DE02-43D1-BA4C-F7413451D738}" type="slidenum">
              <a:rPr lang="de-DE" sz="800">
                <a:solidFill>
                  <a:srgbClr val="515151"/>
                </a:solidFill>
                <a:latin typeface="TKTypeBold" pitchFamily="34" charset="0"/>
              </a:rPr>
              <a:pPr eaLnBrk="0" fontAlgn="base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800" dirty="0">
              <a:solidFill>
                <a:srgbClr val="525254"/>
              </a:solidFill>
              <a:latin typeface="TKType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525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57" r:id="rId2"/>
    <p:sldLayoutId id="2147483719" r:id="rId3"/>
    <p:sldLayoutId id="2147483727" r:id="rId4"/>
    <p:sldLayoutId id="2147483728" r:id="rId5"/>
    <p:sldLayoutId id="2147483729" r:id="rId6"/>
    <p:sldLayoutId id="2147483730" r:id="rId7"/>
    <p:sldLayoutId id="2147483759" r:id="rId8"/>
    <p:sldLayoutId id="2147483760" r:id="rId9"/>
    <p:sldLayoutId id="2147483738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kumimoji="0" lang="de-DE" sz="2200" b="0" i="0" u="none" strike="noStrike" kern="0" cap="none" spc="0" normalizeH="0" baseline="0" noProof="0" dirty="0" smtClean="0">
          <a:ln>
            <a:noFill/>
          </a:ln>
          <a:solidFill>
            <a:sysClr val="windowText" lastClr="000000"/>
          </a:solidFill>
          <a:effectLst/>
          <a:uLnTx/>
          <a:uFillTx/>
          <a:latin typeface="TKTypeMedium" pitchFamily="34" charset="0"/>
          <a:ea typeface="+mn-ea"/>
          <a:cs typeface="+mn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9pPr>
    </p:titleStyle>
    <p:bodyStyle>
      <a:lvl1pPr marL="182563" indent="-1825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1825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715963" indent="-174625" algn="l" rtl="0" eaLnBrk="1" fontAlgn="base" hangingPunct="1">
        <a:spcBef>
          <a:spcPct val="20000"/>
        </a:spcBef>
        <a:spcAft>
          <a:spcPct val="0"/>
        </a:spcAft>
        <a:buSzPct val="80000"/>
        <a:buFont typeface="Symbol" pitchFamily="18" charset="2"/>
        <a:buChar char="-"/>
        <a:tabLst/>
        <a:defRPr sz="12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Tx/>
        <a:buNone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Tx/>
        <a:buNone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/>
            </a:gs>
            <a:gs pos="100000">
              <a:schemeClr val="tx2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81620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5C6C8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defRPr/>
            </a:pPr>
            <a:endParaRPr lang="de-DE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9" name="AutoShape 22"/>
          <p:cNvSpPr>
            <a:spLocks noChangeArrowheads="1"/>
          </p:cNvSpPr>
          <p:nvPr/>
        </p:nvSpPr>
        <p:spPr bwMode="auto">
          <a:xfrm>
            <a:off x="142875" y="5638800"/>
            <a:ext cx="8858250" cy="1066800"/>
          </a:xfrm>
          <a:prstGeom prst="roundRect">
            <a:avLst>
              <a:gd name="adj" fmla="val 5037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defRPr/>
            </a:pPr>
            <a:endParaRPr lang="de-DE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0" name="AutoShape 34"/>
          <p:cNvSpPr>
            <a:spLocks noChangeArrowheads="1"/>
          </p:cNvSpPr>
          <p:nvPr/>
        </p:nvSpPr>
        <p:spPr bwMode="auto">
          <a:xfrm>
            <a:off x="142875" y="152400"/>
            <a:ext cx="8858250" cy="5797550"/>
          </a:xfrm>
          <a:prstGeom prst="roundRect">
            <a:avLst>
              <a:gd name="adj" fmla="val 685"/>
            </a:avLst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12700" algn="ctr">
            <a:noFill/>
            <a:round/>
            <a:headEnd/>
            <a:tailEnd/>
          </a:ln>
          <a:effectLst/>
        </p:spPr>
        <p:txBody>
          <a:bodyPr wrap="none" lIns="0" tIns="10796" rIns="0" bIns="0" anchor="ctr"/>
          <a:lstStyle/>
          <a:p>
            <a:pPr marL="0" indent="0" algn="ctr">
              <a:buFont typeface="Wingdings" pitchFamily="2" charset="2"/>
              <a:buNone/>
              <a:defRPr/>
            </a:pPr>
            <a:endParaRPr lang="de-DE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7" name="AutoShape 26"/>
          <p:cNvSpPr>
            <a:spLocks noChangeArrowheads="1"/>
          </p:cNvSpPr>
          <p:nvPr/>
        </p:nvSpPr>
        <p:spPr bwMode="ltGray">
          <a:xfrm>
            <a:off x="7272338" y="6057900"/>
            <a:ext cx="1728788" cy="647700"/>
          </a:xfrm>
          <a:prstGeom prst="roundRect">
            <a:avLst>
              <a:gd name="adj" fmla="val 6370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AutoShape 27"/>
          <p:cNvSpPr>
            <a:spLocks noChangeArrowheads="1"/>
          </p:cNvSpPr>
          <p:nvPr/>
        </p:nvSpPr>
        <p:spPr bwMode="ltGray">
          <a:xfrm>
            <a:off x="5543550" y="6237288"/>
            <a:ext cx="1836738" cy="468313"/>
          </a:xfrm>
          <a:prstGeom prst="roundRect">
            <a:avLst>
              <a:gd name="adj" fmla="val 9491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 eaLnBrk="0" hangingPunct="0">
              <a:defRPr/>
            </a:pPr>
            <a:endParaRPr lang="de-DE" sz="2000" kern="0" dirty="0">
              <a:solidFill>
                <a:sysClr val="windowText" lastClr="000000"/>
              </a:solidFill>
            </a:endParaRPr>
          </a:p>
        </p:txBody>
      </p:sp>
      <p:pic>
        <p:nvPicPr>
          <p:cNvPr id="23" name="Picture 29" descr="090812_TKLogo3d_4C5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380288" y="6169025"/>
            <a:ext cx="1527175" cy="442913"/>
          </a:xfrm>
          <a:prstGeom prst="rect">
            <a:avLst/>
          </a:prstGeom>
          <a:noFill/>
        </p:spPr>
      </p:pic>
      <p:sp>
        <p:nvSpPr>
          <p:cNvPr id="26" name="Rectangle 30"/>
          <p:cNvSpPr>
            <a:spLocks noChangeArrowheads="1"/>
          </p:cNvSpPr>
          <p:nvPr/>
        </p:nvSpPr>
        <p:spPr bwMode="ltGray">
          <a:xfrm>
            <a:off x="7164388" y="6165850"/>
            <a:ext cx="107950" cy="71438"/>
          </a:xfrm>
          <a:prstGeom prst="rect">
            <a:avLst/>
          </a:prstGeom>
          <a:solidFill>
            <a:srgbClr val="F1F1F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white">
          <a:xfrm>
            <a:off x="5543550" y="6057900"/>
            <a:ext cx="1728788" cy="179388"/>
          </a:xfrm>
          <a:prstGeom prst="roundRect">
            <a:avLst>
              <a:gd name="adj" fmla="val 22125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31" name="Text Box 28"/>
          <p:cNvSpPr txBox="1">
            <a:spLocks noChangeAspect="1" noChangeArrowheads="1"/>
          </p:cNvSpPr>
          <p:nvPr/>
        </p:nvSpPr>
        <p:spPr bwMode="auto">
          <a:xfrm>
            <a:off x="5651500" y="6332538"/>
            <a:ext cx="1620838" cy="2873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10800" rIns="0" bIns="0" anchor="b"/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900" kern="0" dirty="0">
                <a:solidFill>
                  <a:srgbClr val="000000"/>
                </a:solidFill>
                <a:latin typeface="TKTypeBold" pitchFamily="34" charset="0"/>
                <a:ea typeface="+mj-ea"/>
              </a:rPr>
              <a:t>ThyssenKrupp Elevator</a:t>
            </a:r>
          </a:p>
        </p:txBody>
      </p:sp>
      <p:sp>
        <p:nvSpPr>
          <p:cNvPr id="14" name="Text Box 57"/>
          <p:cNvSpPr txBox="1">
            <a:spLocks noChangeArrowheads="1"/>
          </p:cNvSpPr>
          <p:nvPr/>
        </p:nvSpPr>
        <p:spPr bwMode="auto">
          <a:xfrm>
            <a:off x="276225" y="6094413"/>
            <a:ext cx="3054350" cy="52937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TKTypeRegular" pitchFamily="34" charset="0"/>
              </a:rPr>
              <a:t>Titl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TKTypeRegular" pitchFamily="34" charset="0"/>
              </a:rPr>
              <a:t>Presenter</a:t>
            </a:r>
            <a:endParaRPr lang="de-DE" sz="800" dirty="0">
              <a:solidFill>
                <a:srgbClr val="000000"/>
              </a:solidFill>
              <a:latin typeface="TKTypeRegular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TKTypeRegular" pitchFamily="34" charset="0"/>
              </a:rPr>
              <a:t>Date </a:t>
            </a:r>
            <a:endParaRPr lang="de-DE" sz="800" dirty="0">
              <a:solidFill>
                <a:srgbClr val="515151"/>
              </a:solidFill>
              <a:latin typeface="TKTypeBold" pitchFamily="34" charset="0"/>
            </a:endParaRPr>
          </a:p>
          <a:p>
            <a:pPr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fld id="{9167A6ED-DE02-43D1-BA4C-F7413451D738}" type="slidenum">
              <a:rPr lang="de-DE" sz="800">
                <a:solidFill>
                  <a:srgbClr val="515151"/>
                </a:solidFill>
                <a:latin typeface="TKTypeBold" pitchFamily="34" charset="0"/>
              </a:rPr>
              <a:pPr eaLnBrk="0" fontAlgn="base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800" dirty="0">
              <a:solidFill>
                <a:srgbClr val="525254"/>
              </a:solidFill>
              <a:latin typeface="TKTypeBold" pitchFamily="34" charset="0"/>
            </a:endParaRPr>
          </a:p>
        </p:txBody>
      </p:sp>
      <p:sp>
        <p:nvSpPr>
          <p:cNvPr id="7179" name="Titelplatzhalter 1"/>
          <p:cNvSpPr>
            <a:spLocks noGrp="1"/>
          </p:cNvSpPr>
          <p:nvPr>
            <p:ph type="title"/>
          </p:nvPr>
        </p:nvSpPr>
        <p:spPr bwMode="auto">
          <a:xfrm>
            <a:off x="268288" y="265113"/>
            <a:ext cx="860901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Click to edit title master</a:t>
            </a:r>
          </a:p>
        </p:txBody>
      </p:sp>
    </p:spTree>
    <p:extLst>
      <p:ext uri="{BB962C8B-B14F-4D97-AF65-F5344CB8AC3E}">
        <p14:creationId xmlns:p14="http://schemas.microsoft.com/office/powerpoint/2010/main" val="517147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44" r:id="rId2"/>
    <p:sldLayoutId id="2147483758" r:id="rId3"/>
    <p:sldLayoutId id="2147483699" r:id="rId4"/>
    <p:sldLayoutId id="2147483747" r:id="rId5"/>
    <p:sldLayoutId id="2147483748" r:id="rId6"/>
    <p:sldLayoutId id="2147483714" r:id="rId7"/>
    <p:sldLayoutId id="2147483750" r:id="rId8"/>
    <p:sldLayoutId id="2147483751" r:id="rId9"/>
    <p:sldLayoutId id="2147483762" r:id="rId10"/>
    <p:sldLayoutId id="2147483761" r:id="rId11"/>
    <p:sldLayoutId id="2147483763" r:id="rId12"/>
    <p:sldLayoutId id="2147483764" r:id="rId13"/>
    <p:sldLayoutId id="2147483749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sz="2200" dirty="0">
          <a:solidFill>
            <a:schemeClr val="bg1"/>
          </a:solidFill>
          <a:latin typeface="TKTypeMedium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5pPr>
      <a:lvl6pPr marL="45698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6pPr>
      <a:lvl7pPr marL="91396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7pPr>
      <a:lvl8pPr marL="137094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8pPr>
      <a:lvl9pPr marL="1827921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9pPr>
    </p:titleStyle>
    <p:bodyStyle>
      <a:lvl1pPr marL="182475" indent="-1824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9047" indent="-1824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715619" indent="-174541" algn="l" rtl="0" eaLnBrk="0" fontAlgn="base" hangingPunct="0">
        <a:spcBef>
          <a:spcPct val="20000"/>
        </a:spcBef>
        <a:spcAft>
          <a:spcPct val="0"/>
        </a:spcAft>
        <a:buSzPct val="8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3pPr>
      <a:lvl4pPr marL="1599432" indent="-22849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4pPr>
      <a:lvl5pPr marL="2056412" indent="-22849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5pPr>
      <a:lvl6pPr marL="2513393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373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354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336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4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1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01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8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6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4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/>
            </a:gs>
            <a:gs pos="100000">
              <a:schemeClr val="tx2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952999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5C6C8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defRPr/>
            </a:pPr>
            <a:endParaRPr lang="de-DE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9" name="AutoShape 22"/>
          <p:cNvSpPr>
            <a:spLocks noChangeArrowheads="1"/>
          </p:cNvSpPr>
          <p:nvPr/>
        </p:nvSpPr>
        <p:spPr bwMode="auto">
          <a:xfrm>
            <a:off x="142875" y="5638800"/>
            <a:ext cx="8858250" cy="1066800"/>
          </a:xfrm>
          <a:prstGeom prst="roundRect">
            <a:avLst>
              <a:gd name="adj" fmla="val 5037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defRPr/>
            </a:pPr>
            <a:endParaRPr lang="de-DE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0" name="AutoShape 34"/>
          <p:cNvSpPr>
            <a:spLocks noChangeArrowheads="1"/>
          </p:cNvSpPr>
          <p:nvPr/>
        </p:nvSpPr>
        <p:spPr bwMode="auto">
          <a:xfrm>
            <a:off x="142875" y="152400"/>
            <a:ext cx="8858250" cy="5797550"/>
          </a:xfrm>
          <a:prstGeom prst="roundRect">
            <a:avLst>
              <a:gd name="adj" fmla="val 685"/>
            </a:avLst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12700" algn="ctr">
            <a:noFill/>
            <a:round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buFont typeface="Wingdings" pitchFamily="2" charset="2"/>
              <a:buNone/>
              <a:defRPr/>
            </a:pPr>
            <a:endParaRPr lang="de-DE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7" name="AutoShape 26"/>
          <p:cNvSpPr>
            <a:spLocks noChangeArrowheads="1"/>
          </p:cNvSpPr>
          <p:nvPr/>
        </p:nvSpPr>
        <p:spPr bwMode="ltGray">
          <a:xfrm>
            <a:off x="7272338" y="6057900"/>
            <a:ext cx="1728788" cy="647700"/>
          </a:xfrm>
          <a:prstGeom prst="roundRect">
            <a:avLst>
              <a:gd name="adj" fmla="val 6370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AutoShape 27"/>
          <p:cNvSpPr>
            <a:spLocks noChangeArrowheads="1"/>
          </p:cNvSpPr>
          <p:nvPr/>
        </p:nvSpPr>
        <p:spPr bwMode="ltGray">
          <a:xfrm>
            <a:off x="5543550" y="6237288"/>
            <a:ext cx="1836738" cy="468313"/>
          </a:xfrm>
          <a:prstGeom prst="roundRect">
            <a:avLst>
              <a:gd name="adj" fmla="val 9491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 eaLnBrk="0" hangingPunct="0">
              <a:defRPr/>
            </a:pPr>
            <a:endParaRPr lang="de-DE" sz="2000" kern="0" dirty="0">
              <a:solidFill>
                <a:sysClr val="windowText" lastClr="000000"/>
              </a:solidFill>
            </a:endParaRPr>
          </a:p>
        </p:txBody>
      </p:sp>
      <p:pic>
        <p:nvPicPr>
          <p:cNvPr id="23" name="Picture 29" descr="090812_TKLogo3d_4C5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380288" y="6169025"/>
            <a:ext cx="1527175" cy="442913"/>
          </a:xfrm>
          <a:prstGeom prst="rect">
            <a:avLst/>
          </a:prstGeom>
          <a:noFill/>
        </p:spPr>
      </p:pic>
      <p:sp>
        <p:nvSpPr>
          <p:cNvPr id="26" name="Rectangle 30"/>
          <p:cNvSpPr>
            <a:spLocks noChangeArrowheads="1"/>
          </p:cNvSpPr>
          <p:nvPr/>
        </p:nvSpPr>
        <p:spPr bwMode="ltGray">
          <a:xfrm>
            <a:off x="7164388" y="6165850"/>
            <a:ext cx="107950" cy="71438"/>
          </a:xfrm>
          <a:prstGeom prst="rect">
            <a:avLst/>
          </a:prstGeom>
          <a:solidFill>
            <a:srgbClr val="F1F1F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white">
          <a:xfrm>
            <a:off x="5543550" y="6057900"/>
            <a:ext cx="1728788" cy="179388"/>
          </a:xfrm>
          <a:prstGeom prst="roundRect">
            <a:avLst>
              <a:gd name="adj" fmla="val 22125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31" name="Text Box 28"/>
          <p:cNvSpPr txBox="1">
            <a:spLocks noChangeAspect="1" noChangeArrowheads="1"/>
          </p:cNvSpPr>
          <p:nvPr/>
        </p:nvSpPr>
        <p:spPr bwMode="auto">
          <a:xfrm>
            <a:off x="5651500" y="6332538"/>
            <a:ext cx="1620838" cy="2873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10800" rIns="0" bIns="0" anchor="b"/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900" kern="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  <p:sp>
        <p:nvSpPr>
          <p:cNvPr id="14" name="Text Box 57"/>
          <p:cNvSpPr txBox="1">
            <a:spLocks noChangeArrowheads="1"/>
          </p:cNvSpPr>
          <p:nvPr/>
        </p:nvSpPr>
        <p:spPr bwMode="auto">
          <a:xfrm>
            <a:off x="276225" y="6094413"/>
            <a:ext cx="3054350" cy="52937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</a:rPr>
              <a:t>Titl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</a:rPr>
              <a:t>Presenter</a:t>
            </a:r>
            <a:endParaRPr lang="de-DE" sz="8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</a:rPr>
              <a:t>Date </a:t>
            </a:r>
            <a:endParaRPr lang="de-DE" sz="800" dirty="0">
              <a:solidFill>
                <a:srgbClr val="515151"/>
              </a:solidFill>
              <a:latin typeface="TKTypeBold" pitchFamily="34" charset="0"/>
            </a:endParaRPr>
          </a:p>
          <a:p>
            <a:pPr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fld id="{9167A6ED-DE02-43D1-BA4C-F7413451D738}" type="slidenum">
              <a:rPr lang="de-DE" sz="800">
                <a:solidFill>
                  <a:srgbClr val="515151"/>
                </a:solidFill>
                <a:latin typeface="TKTypeBold" pitchFamily="34" charset="0"/>
              </a:rPr>
              <a:pPr eaLnBrk="0" fontAlgn="base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800" dirty="0">
              <a:solidFill>
                <a:srgbClr val="525254"/>
              </a:solidFill>
              <a:latin typeface="TKTypeBold" pitchFamily="34" charset="0"/>
            </a:endParaRPr>
          </a:p>
        </p:txBody>
      </p:sp>
      <p:sp>
        <p:nvSpPr>
          <p:cNvPr id="7179" name="Titelplatzhalter 1"/>
          <p:cNvSpPr>
            <a:spLocks noGrp="1"/>
          </p:cNvSpPr>
          <p:nvPr>
            <p:ph type="title"/>
          </p:nvPr>
        </p:nvSpPr>
        <p:spPr bwMode="auto">
          <a:xfrm>
            <a:off x="268288" y="265113"/>
            <a:ext cx="860901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Click to edit title master</a:t>
            </a:r>
          </a:p>
        </p:txBody>
      </p:sp>
    </p:spTree>
    <p:extLst>
      <p:ext uri="{BB962C8B-B14F-4D97-AF65-F5344CB8AC3E}">
        <p14:creationId xmlns:p14="http://schemas.microsoft.com/office/powerpoint/2010/main" val="2329095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sz="2200" dirty="0">
          <a:solidFill>
            <a:schemeClr val="bg1"/>
          </a:solidFill>
          <a:latin typeface="TKTypeMedium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5pPr>
      <a:lvl6pPr marL="45698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6pPr>
      <a:lvl7pPr marL="91396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7pPr>
      <a:lvl8pPr marL="137094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8pPr>
      <a:lvl9pPr marL="1827921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9pPr>
    </p:titleStyle>
    <p:bodyStyle>
      <a:lvl1pPr marL="182475" indent="-1824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9047" indent="-1824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715619" indent="-174541" algn="l" rtl="0" eaLnBrk="0" fontAlgn="base" hangingPunct="0">
        <a:spcBef>
          <a:spcPct val="20000"/>
        </a:spcBef>
        <a:spcAft>
          <a:spcPct val="0"/>
        </a:spcAft>
        <a:buSzPct val="8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3pPr>
      <a:lvl4pPr marL="1599432" indent="-22849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4pPr>
      <a:lvl5pPr marL="2056412" indent="-22849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5pPr>
      <a:lvl6pPr marL="2513393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373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354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336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4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1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01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8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6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4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/>
            </a:gs>
            <a:gs pos="100000">
              <a:schemeClr val="tx2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2764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2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C5C6C8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defRPr/>
            </a:pPr>
            <a:endParaRPr lang="de-DE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9" name="AutoShape 22"/>
          <p:cNvSpPr>
            <a:spLocks noChangeArrowheads="1"/>
          </p:cNvSpPr>
          <p:nvPr/>
        </p:nvSpPr>
        <p:spPr bwMode="auto">
          <a:xfrm>
            <a:off x="142875" y="5638800"/>
            <a:ext cx="8858250" cy="1066800"/>
          </a:xfrm>
          <a:prstGeom prst="roundRect">
            <a:avLst>
              <a:gd name="adj" fmla="val 5037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defRPr/>
            </a:pPr>
            <a:endParaRPr lang="de-DE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0" name="AutoShape 34"/>
          <p:cNvSpPr>
            <a:spLocks noChangeArrowheads="1"/>
          </p:cNvSpPr>
          <p:nvPr/>
        </p:nvSpPr>
        <p:spPr bwMode="auto">
          <a:xfrm>
            <a:off x="142875" y="152400"/>
            <a:ext cx="8858250" cy="5797550"/>
          </a:xfrm>
          <a:prstGeom prst="roundRect">
            <a:avLst>
              <a:gd name="adj" fmla="val 685"/>
            </a:avLst>
          </a:prstGeom>
          <a:gradFill>
            <a:gsLst>
              <a:gs pos="0">
                <a:srgbClr val="07396A"/>
              </a:gs>
              <a:gs pos="100000">
                <a:srgbClr val="1B6AA6"/>
              </a:gs>
            </a:gsLst>
            <a:path path="circle">
              <a:fillToRect t="100000" r="100000"/>
            </a:path>
          </a:gradFill>
          <a:ln w="12700" algn="ctr">
            <a:noFill/>
            <a:round/>
            <a:headEnd/>
            <a:tailEnd/>
          </a:ln>
          <a:effectLst/>
        </p:spPr>
        <p:txBody>
          <a:bodyPr wrap="none" lIns="0" tIns="10796" rIns="0" bIns="0" anchor="ctr"/>
          <a:lstStyle/>
          <a:p>
            <a:pPr algn="ctr">
              <a:buFont typeface="Wingdings" pitchFamily="2" charset="2"/>
              <a:buNone/>
              <a:defRPr/>
            </a:pPr>
            <a:endParaRPr lang="de-DE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7" name="AutoShape 26"/>
          <p:cNvSpPr>
            <a:spLocks noChangeArrowheads="1"/>
          </p:cNvSpPr>
          <p:nvPr/>
        </p:nvSpPr>
        <p:spPr bwMode="ltGray">
          <a:xfrm>
            <a:off x="7272338" y="6057900"/>
            <a:ext cx="1728788" cy="647700"/>
          </a:xfrm>
          <a:prstGeom prst="roundRect">
            <a:avLst>
              <a:gd name="adj" fmla="val 6370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AutoShape 27"/>
          <p:cNvSpPr>
            <a:spLocks noChangeArrowheads="1"/>
          </p:cNvSpPr>
          <p:nvPr/>
        </p:nvSpPr>
        <p:spPr bwMode="ltGray">
          <a:xfrm>
            <a:off x="5543550" y="6237288"/>
            <a:ext cx="1836738" cy="468313"/>
          </a:xfrm>
          <a:prstGeom prst="roundRect">
            <a:avLst>
              <a:gd name="adj" fmla="val 9491"/>
            </a:avLst>
          </a:prstGeom>
          <a:solidFill>
            <a:srgbClr val="F1F1F1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 eaLnBrk="0" hangingPunct="0">
              <a:defRPr/>
            </a:pPr>
            <a:endParaRPr lang="de-DE" sz="2000" kern="0" dirty="0">
              <a:solidFill>
                <a:sysClr val="windowText" lastClr="000000"/>
              </a:solidFill>
            </a:endParaRPr>
          </a:p>
        </p:txBody>
      </p:sp>
      <p:pic>
        <p:nvPicPr>
          <p:cNvPr id="23" name="Picture 29" descr="090812_TKLogo3d_4C5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380288" y="6169025"/>
            <a:ext cx="1527175" cy="442913"/>
          </a:xfrm>
          <a:prstGeom prst="rect">
            <a:avLst/>
          </a:prstGeom>
          <a:noFill/>
        </p:spPr>
      </p:pic>
      <p:sp>
        <p:nvSpPr>
          <p:cNvPr id="26" name="Rectangle 30"/>
          <p:cNvSpPr>
            <a:spLocks noChangeArrowheads="1"/>
          </p:cNvSpPr>
          <p:nvPr/>
        </p:nvSpPr>
        <p:spPr bwMode="ltGray">
          <a:xfrm>
            <a:off x="7164388" y="6165850"/>
            <a:ext cx="107950" cy="71438"/>
          </a:xfrm>
          <a:prstGeom prst="rect">
            <a:avLst/>
          </a:prstGeom>
          <a:solidFill>
            <a:srgbClr val="F1F1F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white">
          <a:xfrm>
            <a:off x="5543550" y="6057900"/>
            <a:ext cx="1728788" cy="179388"/>
          </a:xfrm>
          <a:prstGeom prst="roundRect">
            <a:avLst>
              <a:gd name="adj" fmla="val 22125"/>
            </a:avLst>
          </a:prstGeom>
          <a:solidFill>
            <a:srgbClr val="E2E2E2"/>
          </a:solidFill>
          <a:ln w="12700" algn="ctr">
            <a:noFill/>
            <a:round/>
            <a:headEnd/>
            <a:tailEnd/>
          </a:ln>
          <a:effectLst/>
        </p:spPr>
        <p:txBody>
          <a:bodyPr wrap="none" lIns="0" tIns="10800" rIns="0" bIns="0" anchor="ctr"/>
          <a:lstStyle/>
          <a:p>
            <a:pPr algn="ctr">
              <a:defRPr/>
            </a:pPr>
            <a:endParaRPr lang="de-DE" kern="0" dirty="0">
              <a:solidFill>
                <a:sysClr val="windowText" lastClr="000000"/>
              </a:solidFill>
            </a:endParaRPr>
          </a:p>
        </p:txBody>
      </p:sp>
      <p:sp>
        <p:nvSpPr>
          <p:cNvPr id="31" name="Text Box 28"/>
          <p:cNvSpPr txBox="1">
            <a:spLocks noChangeAspect="1" noChangeArrowheads="1"/>
          </p:cNvSpPr>
          <p:nvPr/>
        </p:nvSpPr>
        <p:spPr bwMode="auto">
          <a:xfrm>
            <a:off x="5651500" y="6332538"/>
            <a:ext cx="1620838" cy="2873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10800" rIns="0" bIns="0" anchor="b"/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900" kern="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  <p:sp>
        <p:nvSpPr>
          <p:cNvPr id="14" name="Text Box 57"/>
          <p:cNvSpPr txBox="1">
            <a:spLocks noChangeArrowheads="1"/>
          </p:cNvSpPr>
          <p:nvPr/>
        </p:nvSpPr>
        <p:spPr bwMode="auto">
          <a:xfrm>
            <a:off x="276225" y="6094413"/>
            <a:ext cx="3054350" cy="52937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</a:rPr>
              <a:t>Titl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</a:rPr>
              <a:t>Presenter</a:t>
            </a:r>
            <a:endParaRPr lang="de-DE" sz="8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800" dirty="0" smtClean="0">
                <a:solidFill>
                  <a:srgbClr val="000000"/>
                </a:solidFill>
              </a:rPr>
              <a:t>Date </a:t>
            </a:r>
            <a:endParaRPr lang="de-DE" sz="800" dirty="0">
              <a:solidFill>
                <a:srgbClr val="515151"/>
              </a:solidFill>
              <a:latin typeface="TKTypeBold" pitchFamily="34" charset="0"/>
            </a:endParaRPr>
          </a:p>
          <a:p>
            <a:pPr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fld id="{9167A6ED-DE02-43D1-BA4C-F7413451D738}" type="slidenum">
              <a:rPr lang="de-DE" sz="800">
                <a:solidFill>
                  <a:srgbClr val="515151"/>
                </a:solidFill>
                <a:latin typeface="TKTypeBold" pitchFamily="34" charset="0"/>
              </a:rPr>
              <a:pPr eaLnBrk="0" fontAlgn="base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800" dirty="0">
              <a:solidFill>
                <a:srgbClr val="525254"/>
              </a:solidFill>
              <a:latin typeface="TKTypeBold" pitchFamily="34" charset="0"/>
            </a:endParaRPr>
          </a:p>
        </p:txBody>
      </p:sp>
      <p:sp>
        <p:nvSpPr>
          <p:cNvPr id="7179" name="Titelplatzhalter 1"/>
          <p:cNvSpPr>
            <a:spLocks noGrp="1"/>
          </p:cNvSpPr>
          <p:nvPr>
            <p:ph type="title"/>
          </p:nvPr>
        </p:nvSpPr>
        <p:spPr bwMode="auto">
          <a:xfrm>
            <a:off x="268288" y="265113"/>
            <a:ext cx="860901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Click to edit title master</a:t>
            </a:r>
          </a:p>
        </p:txBody>
      </p:sp>
    </p:spTree>
    <p:extLst>
      <p:ext uri="{BB962C8B-B14F-4D97-AF65-F5344CB8AC3E}">
        <p14:creationId xmlns:p14="http://schemas.microsoft.com/office/powerpoint/2010/main" val="1846055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sz="2200" dirty="0">
          <a:solidFill>
            <a:schemeClr val="bg1"/>
          </a:solidFill>
          <a:latin typeface="TKTypeMedium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TKTypeMedium" pitchFamily="34" charset="0"/>
        </a:defRPr>
      </a:lvl5pPr>
      <a:lvl6pPr marL="45698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6pPr>
      <a:lvl7pPr marL="91396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7pPr>
      <a:lvl8pPr marL="137094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8pPr>
      <a:lvl9pPr marL="1827921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TKTypeBold" pitchFamily="34" charset="0"/>
        </a:defRPr>
      </a:lvl9pPr>
    </p:titleStyle>
    <p:bodyStyle>
      <a:lvl1pPr marL="182475" indent="-1824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9047" indent="-1824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715619" indent="-174541" algn="l" rtl="0" eaLnBrk="0" fontAlgn="base" hangingPunct="0">
        <a:spcBef>
          <a:spcPct val="20000"/>
        </a:spcBef>
        <a:spcAft>
          <a:spcPct val="0"/>
        </a:spcAft>
        <a:buSzPct val="80000"/>
        <a:buFont typeface="Symbol" pitchFamily="18" charset="2"/>
        <a:buChar char="-"/>
        <a:defRPr sz="1200">
          <a:solidFill>
            <a:schemeClr val="tx1"/>
          </a:solidFill>
          <a:latin typeface="+mn-lt"/>
        </a:defRPr>
      </a:lvl3pPr>
      <a:lvl4pPr marL="1599432" indent="-22849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4pPr>
      <a:lvl5pPr marL="2056412" indent="-22849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5pPr>
      <a:lvl6pPr marL="2513393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373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354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336" indent="-22849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4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1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01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8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6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4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image" Target="../media/image11.jpeg"/><Relationship Id="rId3" Type="http://schemas.openxmlformats.org/officeDocument/2006/relationships/tags" Target="../tags/tag136.xml"/><Relationship Id="rId21" Type="http://schemas.openxmlformats.org/officeDocument/2006/relationships/image" Target="../media/image5.jpeg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image" Target="../media/image10.jpeg"/><Relationship Id="rId2" Type="http://schemas.openxmlformats.org/officeDocument/2006/relationships/tags" Target="../tags/tag135.xml"/><Relationship Id="rId16" Type="http://schemas.openxmlformats.org/officeDocument/2006/relationships/image" Target="../media/image8.jpeg"/><Relationship Id="rId20" Type="http://schemas.openxmlformats.org/officeDocument/2006/relationships/image" Target="../media/image4.wmf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image" Target="../media/image7.jpeg"/><Relationship Id="rId10" Type="http://schemas.openxmlformats.org/officeDocument/2006/relationships/tags" Target="../tags/tag143.xml"/><Relationship Id="rId19" Type="http://schemas.openxmlformats.org/officeDocument/2006/relationships/image" Target="../media/image12.jpeg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56125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9" name="Picture 4" descr="DockingA380 Dubai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48475" y="0"/>
            <a:ext cx="2295525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Line 14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V="1">
            <a:off x="6859588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2" name="Picture 2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877050" y="0"/>
            <a:ext cx="2295525" cy="1733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3" name="Line 15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0" y="1727200"/>
            <a:ext cx="91440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4" name="Picture 29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0"/>
            <a:ext cx="2255838" cy="1716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" name="Picture 30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279650" y="0"/>
            <a:ext cx="2292350" cy="1717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6" name="Line 11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2276475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7" name="Line 12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V="1">
            <a:off x="4572000" y="0"/>
            <a:ext cx="0" cy="17335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Rectangle 3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284663" y="4149725"/>
            <a:ext cx="2346325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2" name="Picture 12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502150" y="5500688"/>
            <a:ext cx="4333875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3" name="Picture 29" descr="Konzernmarke - Ohne Rundung RGB 241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824663" y="5649913"/>
            <a:ext cx="18589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625975" y="5842000"/>
            <a:ext cx="2033588" cy="3952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eaLnBrk="0" hangingPunct="0">
              <a:defRPr/>
            </a:pPr>
            <a:r>
              <a:rPr lang="de-DE" sz="1100" dirty="0">
                <a:solidFill>
                  <a:srgbClr val="000000"/>
                </a:solidFill>
                <a:latin typeface="TKTypeBold" pitchFamily="34" charset="0"/>
              </a:rPr>
              <a:t>ThyssenKrupp Elevator</a:t>
            </a:r>
          </a:p>
        </p:txBody>
      </p:sp>
      <p:sp>
        <p:nvSpPr>
          <p:cNvPr id="41" name="TextBox 40"/>
          <p:cNvSpPr txBox="1"/>
          <p:nvPr/>
        </p:nvSpPr>
        <p:spPr bwMode="auto">
          <a:xfrm>
            <a:off x="1547664" y="2564904"/>
            <a:ext cx="5472608" cy="64807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kern="0" dirty="0">
                <a:solidFill>
                  <a:schemeClr val="bg1"/>
                </a:solidFill>
                <a:latin typeface="TKTypeRegular" pitchFamily="34" charset="0"/>
                <a:ea typeface="宋体" pitchFamily="2" charset="-122"/>
                <a:cs typeface="Arial Unicode MS" pitchFamily="34" charset="-122"/>
              </a:rPr>
              <a:t>钣</a:t>
            </a:r>
            <a:r>
              <a:rPr lang="zh-CN" altLang="en-US" sz="2800" b="1" kern="0" dirty="0" smtClean="0">
                <a:solidFill>
                  <a:schemeClr val="bg1"/>
                </a:solidFill>
                <a:latin typeface="TKTypeRegular" pitchFamily="34" charset="0"/>
                <a:ea typeface="宋体" pitchFamily="2" charset="-122"/>
                <a:cs typeface="Arial Unicode MS" pitchFamily="34" charset="-122"/>
              </a:rPr>
              <a:t>金作业计划自动化项目</a:t>
            </a:r>
            <a:endParaRPr lang="en-US" altLang="zh-CN" sz="2800" kern="0" dirty="0" err="1">
              <a:solidFill>
                <a:sysClr val="windowText" lastClr="000000"/>
              </a:solidFill>
              <a:latin typeface="TKTypeRegular" pitchFamily="34" charset="0"/>
              <a:ea typeface="宋体" pitchFamily="2" charset="-122"/>
              <a:cs typeface="Arial Unicode MS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488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6"/>
          <p:cNvSpPr/>
          <p:nvPr/>
        </p:nvSpPr>
        <p:spPr bwMode="auto">
          <a:xfrm>
            <a:off x="187597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67"/>
          <p:cNvSpPr/>
          <p:nvPr/>
        </p:nvSpPr>
        <p:spPr bwMode="auto">
          <a:xfrm>
            <a:off x="716177" y="17721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经验心得。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val="2539311014"/>
              </p:ext>
            </p:extLst>
          </p:nvPr>
        </p:nvGraphicFramePr>
        <p:xfrm>
          <a:off x="630000" y="1017000"/>
          <a:ext cx="7884000" cy="48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791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1123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8"/>
          <p:cNvSpPr/>
          <p:nvPr/>
        </p:nvSpPr>
        <p:spPr bwMode="auto">
          <a:xfrm>
            <a:off x="907677" y="692696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P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59"/>
          <p:cNvSpPr/>
          <p:nvPr/>
        </p:nvSpPr>
        <p:spPr bwMode="auto">
          <a:xfrm>
            <a:off x="1436257" y="692696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11" lvl="1" defTabSz="685294"/>
            <a:r>
              <a:rPr lang="en-US" altLang="zh-CN" sz="2400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Plan</a:t>
            </a:r>
          </a:p>
          <a:p>
            <a:pPr marL="174611" lvl="1" defTabSz="685294"/>
            <a:r>
              <a:rPr lang="zh-CN" altLang="en-US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目标</a:t>
            </a:r>
            <a:r>
              <a:rPr lang="en-US" altLang="zh-CN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?  </a:t>
            </a:r>
            <a:r>
              <a:rPr lang="zh-CN" altLang="en-US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实施计划</a:t>
            </a:r>
            <a:r>
              <a:rPr lang="en-US" altLang="zh-CN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?  </a:t>
            </a:r>
            <a:r>
              <a:rPr lang="zh-CN" altLang="en-US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预期收益？</a:t>
            </a:r>
            <a:endParaRPr lang="en-US" kern="0" dirty="0">
              <a:solidFill>
                <a:srgbClr val="FFFFFF">
                  <a:alpha val="99000"/>
                </a:srgbClr>
              </a:solidFill>
              <a:latin typeface="Segoe UI"/>
            </a:endParaRPr>
          </a:p>
        </p:txBody>
      </p:sp>
      <p:sp>
        <p:nvSpPr>
          <p:cNvPr id="12" name="Rectangle 60"/>
          <p:cNvSpPr/>
          <p:nvPr/>
        </p:nvSpPr>
        <p:spPr bwMode="auto">
          <a:xfrm>
            <a:off x="907677" y="1772816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D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61"/>
          <p:cNvSpPr/>
          <p:nvPr/>
        </p:nvSpPr>
        <p:spPr bwMode="auto">
          <a:xfrm>
            <a:off x="1436257" y="1772816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11" lvl="1" defTabSz="685294"/>
            <a:r>
              <a:rPr lang="en-US" altLang="zh-CN" sz="2400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Do</a:t>
            </a:r>
          </a:p>
          <a:p>
            <a:pPr marL="174611" lvl="1" defTabSz="685294"/>
            <a:r>
              <a:rPr lang="zh-CN" altLang="en-US" kern="0" dirty="0" smtClean="0">
                <a:solidFill>
                  <a:srgbClr val="FFFFFF">
                    <a:alpha val="99000"/>
                  </a:srgbClr>
                </a:solidFill>
                <a:latin typeface="Segoe UI"/>
              </a:rPr>
              <a:t>方案实施，是否</a:t>
            </a:r>
            <a:r>
              <a:rPr lang="zh-CN" altLang="en-US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需要布局调整？</a:t>
            </a:r>
            <a:endParaRPr lang="en-US" kern="0" dirty="0">
              <a:solidFill>
                <a:srgbClr val="FFFFFF">
                  <a:alpha val="99000"/>
                </a:srgbClr>
              </a:solidFill>
              <a:latin typeface="Segoe UI"/>
            </a:endParaRPr>
          </a:p>
        </p:txBody>
      </p:sp>
      <p:sp>
        <p:nvSpPr>
          <p:cNvPr id="14" name="Rectangle 62"/>
          <p:cNvSpPr/>
          <p:nvPr/>
        </p:nvSpPr>
        <p:spPr bwMode="auto">
          <a:xfrm>
            <a:off x="907677" y="2781008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C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63"/>
          <p:cNvSpPr/>
          <p:nvPr/>
        </p:nvSpPr>
        <p:spPr bwMode="auto">
          <a:xfrm>
            <a:off x="1436257" y="2781008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11" lvl="1" defTabSz="685294"/>
            <a:r>
              <a:rPr lang="en-US" sz="2400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C</a:t>
            </a:r>
            <a:r>
              <a:rPr lang="en-US" altLang="zh-CN" sz="2400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heck</a:t>
            </a:r>
            <a:endParaRPr lang="en-US" sz="2400" kern="0" dirty="0">
              <a:solidFill>
                <a:srgbClr val="FFFFFF">
                  <a:alpha val="99000"/>
                </a:srgbClr>
              </a:solidFill>
              <a:latin typeface="Segoe UI"/>
            </a:endParaRPr>
          </a:p>
          <a:p>
            <a:pPr marL="174611" lvl="1" defTabSz="685294"/>
            <a:r>
              <a:rPr lang="zh-CN" altLang="en-US" kern="0" dirty="0" smtClean="0">
                <a:solidFill>
                  <a:srgbClr val="FFFFFF">
                    <a:alpha val="99000"/>
                  </a:srgbClr>
                </a:solidFill>
                <a:latin typeface="Segoe UI"/>
              </a:rPr>
              <a:t>检</a:t>
            </a:r>
            <a:r>
              <a:rPr lang="zh-CN" altLang="en-US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查</a:t>
            </a:r>
            <a:r>
              <a:rPr lang="zh-CN" altLang="en-US" kern="0" dirty="0" smtClean="0">
                <a:solidFill>
                  <a:srgbClr val="FFFFFF">
                    <a:alpha val="99000"/>
                  </a:srgbClr>
                </a:solidFill>
                <a:latin typeface="Segoe UI"/>
              </a:rPr>
              <a:t>和</a:t>
            </a:r>
            <a:r>
              <a:rPr lang="zh-CN" altLang="en-US" kern="0" dirty="0">
                <a:solidFill>
                  <a:srgbClr val="FFFFFF">
                    <a:alpha val="99000"/>
                  </a:srgbClr>
                </a:solidFill>
                <a:latin typeface="Segoe UI"/>
              </a:rPr>
              <a:t>评估结果</a:t>
            </a:r>
            <a:endParaRPr lang="en-US" kern="0" dirty="0">
              <a:solidFill>
                <a:srgbClr val="FFFFFF">
                  <a:alpha val="99000"/>
                </a:srgbClr>
              </a:solidFill>
              <a:latin typeface="Segoe UI"/>
            </a:endParaRPr>
          </a:p>
        </p:txBody>
      </p:sp>
      <p:sp>
        <p:nvSpPr>
          <p:cNvPr id="16" name="Rectangle 64"/>
          <p:cNvSpPr/>
          <p:nvPr/>
        </p:nvSpPr>
        <p:spPr bwMode="auto">
          <a:xfrm>
            <a:off x="907677" y="3859988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A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65"/>
          <p:cNvSpPr/>
          <p:nvPr/>
        </p:nvSpPr>
        <p:spPr bwMode="auto">
          <a:xfrm>
            <a:off x="1436257" y="3861128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11" marR="0" lvl="1" indent="0" defTabSz="68529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</a:t>
            </a:r>
            <a:r>
              <a:rPr kumimoji="0" lang="en-US" altLang="zh-CN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tion</a:t>
            </a:r>
          </a:p>
          <a:p>
            <a:pPr marL="174611" marR="0" lvl="1" indent="0" defTabSz="68529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kern="0" dirty="0" smtClean="0">
                <a:solidFill>
                  <a:srgbClr val="FFFFFF">
                    <a:alpha val="99000"/>
                  </a:srgbClr>
                </a:solidFill>
                <a:latin typeface="Segoe UI"/>
              </a:rPr>
              <a:t>正式执行并标准化，探讨进一步推广？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Segoe UI"/>
            </a:endParaRPr>
          </a:p>
        </p:txBody>
      </p:sp>
      <p:pic>
        <p:nvPicPr>
          <p:cNvPr id="26" name="Picture 8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932" y="1792096"/>
            <a:ext cx="648072" cy="648072"/>
          </a:xfrm>
          <a:prstGeom prst="rect">
            <a:avLst/>
          </a:prstGeom>
        </p:spPr>
      </p:pic>
      <p:pic>
        <p:nvPicPr>
          <p:cNvPr id="27" name="Picture 8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3916" y="2873690"/>
            <a:ext cx="592087" cy="556739"/>
          </a:xfrm>
          <a:prstGeom prst="rect">
            <a:avLst/>
          </a:prstGeom>
        </p:spPr>
      </p:pic>
      <p:pic>
        <p:nvPicPr>
          <p:cNvPr id="28" name="Picture 8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362" y="3903021"/>
            <a:ext cx="535916" cy="636214"/>
          </a:xfrm>
          <a:prstGeom prst="rect">
            <a:avLst/>
          </a:prstGeom>
        </p:spPr>
      </p:pic>
      <p:pic>
        <p:nvPicPr>
          <p:cNvPr id="30" name="Picture 8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8733" y="794380"/>
            <a:ext cx="872236" cy="51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67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/>
          <p:cNvGrpSpPr/>
          <p:nvPr/>
        </p:nvGrpSpPr>
        <p:grpSpPr>
          <a:xfrm>
            <a:off x="1412279" y="692696"/>
            <a:ext cx="6054452" cy="4547384"/>
            <a:chOff x="1412279" y="692696"/>
            <a:chExt cx="6054452" cy="4547384"/>
          </a:xfrm>
        </p:grpSpPr>
        <p:sp>
          <p:nvSpPr>
            <p:cNvPr id="2" name="Oval 1"/>
            <p:cNvSpPr/>
            <p:nvPr/>
          </p:nvSpPr>
          <p:spPr bwMode="gray">
            <a:xfrm>
              <a:off x="2781020" y="1538705"/>
              <a:ext cx="3456384" cy="3312368"/>
            </a:xfrm>
            <a:prstGeom prst="ellipse">
              <a:avLst/>
            </a:prstGeom>
            <a:solidFill>
              <a:srgbClr val="3397D3"/>
            </a:solidFill>
            <a:ln w="19050" algn="ctr">
              <a:solidFill>
                <a:schemeClr val="bg1"/>
              </a:solidFill>
              <a:miter lim="800000"/>
              <a:headEnd type="none" w="lg" len="lg"/>
              <a:tailEnd type="none" w="lg" len="lg"/>
            </a:ln>
          </p:spPr>
          <p:txBody>
            <a:bodyPr lIns="54000" tIns="72000" rIns="18000" bIns="91440" rtlCol="0" anchor="ctr"/>
            <a:lstStyle/>
            <a:p>
              <a:pPr marL="168275" indent="-168275" algn="l" eaLnBrk="1" hangingPunct="1">
                <a:buClr>
                  <a:schemeClr val="tx1"/>
                </a:buClr>
                <a:buFont typeface="Wingdings" pitchFamily="2" charset="2"/>
                <a:buChar char="§"/>
              </a:pPr>
              <a:endParaRPr lang="zh-CN" altLang="en-US" sz="1800" dirty="0" err="1">
                <a:cs typeface="Arial" charset="0"/>
              </a:endParaRP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3876177" y="2587926"/>
              <a:ext cx="1266069" cy="1224136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6350" algn="ctr">
              <a:noFill/>
              <a:miter lim="800000"/>
              <a:headEnd type="none" w="lg" len="lg"/>
              <a:tailEnd type="none" w="lg" len="lg"/>
            </a:ln>
            <a:effectLst>
              <a:softEdge rad="63500"/>
            </a:effectLst>
          </p:spPr>
          <p:txBody>
            <a:bodyPr lIns="54000" tIns="72000" rIns="18000" bIns="91440" rtlCol="0" anchor="ctr"/>
            <a:lstStyle/>
            <a:p>
              <a:pPr marL="168275" indent="-168275" algn="l" eaLnBrk="1" hangingPunct="1">
                <a:buClr>
                  <a:schemeClr val="tx1"/>
                </a:buClr>
                <a:buFont typeface="Wingdings" pitchFamily="2" charset="2"/>
                <a:buChar char="§"/>
              </a:pPr>
              <a:endParaRPr lang="zh-CN" altLang="en-US" sz="1800" dirty="0" err="1">
                <a:cs typeface="Arial" charset="0"/>
              </a:endParaRPr>
            </a:p>
          </p:txBody>
        </p:sp>
        <p:cxnSp>
          <p:nvCxnSpPr>
            <p:cNvPr id="4" name="Straight Connector 3"/>
            <p:cNvCxnSpPr>
              <a:stCxn id="2" idx="2"/>
              <a:endCxn id="2" idx="6"/>
            </p:cNvCxnSpPr>
            <p:nvPr/>
          </p:nvCxnSpPr>
          <p:spPr>
            <a:xfrm>
              <a:off x="2781020" y="3194889"/>
              <a:ext cx="3456384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>
              <a:stCxn id="2" idx="0"/>
              <a:endCxn id="2" idx="4"/>
            </p:cNvCxnSpPr>
            <p:nvPr/>
          </p:nvCxnSpPr>
          <p:spPr>
            <a:xfrm>
              <a:off x="4509212" y="1538705"/>
              <a:ext cx="0" cy="331236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 rot="208747">
              <a:off x="6233021" y="3045539"/>
              <a:ext cx="1233710" cy="3289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8578" tIns="34289" rIns="68578" bIns="34289">
              <a:spAutoFit/>
            </a:bodyPr>
            <a:lstStyle/>
            <a:p>
              <a:pPr marL="2976" indent="-2976" algn="ctr">
                <a:lnSpc>
                  <a:spcPts val="2000"/>
                </a:lnSpc>
                <a:spcAft>
                  <a:spcPts val="375"/>
                </a:spcAft>
                <a:defRPr/>
              </a:pPr>
              <a:r>
                <a:rPr 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Plan </a:t>
              </a:r>
              <a:r>
                <a:rPr lang="zh-CN" alt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计划</a:t>
              </a:r>
              <a:endParaRPr lang="en-US" b="1" dirty="0">
                <a:solidFill>
                  <a:srgbClr val="FFFF00"/>
                </a:solidFill>
                <a:latin typeface="Segoe UI Light" pitchFamily="34" charset="0"/>
              </a:endParaRPr>
            </a:p>
          </p:txBody>
        </p:sp>
        <p:cxnSp>
          <p:nvCxnSpPr>
            <p:cNvPr id="49" name="Straight Connector 48"/>
            <p:cNvCxnSpPr>
              <a:stCxn id="7" idx="7"/>
              <a:endCxn id="2" idx="7"/>
            </p:cNvCxnSpPr>
            <p:nvPr/>
          </p:nvCxnSpPr>
          <p:spPr>
            <a:xfrm flipV="1">
              <a:off x="4956834" y="2023790"/>
              <a:ext cx="774394" cy="74340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V="1">
              <a:off x="4725236" y="1682721"/>
              <a:ext cx="417010" cy="936104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V="1">
              <a:off x="5105622" y="2618825"/>
              <a:ext cx="1004565" cy="36004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 bwMode="auto">
            <a:xfrm>
              <a:off x="4509212" y="2654829"/>
              <a:ext cx="424528" cy="54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P</a:t>
              </a:r>
              <a:endParaRPr kumimoji="0" lang="zh-CN" alt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TextBox 60"/>
            <p:cNvSpPr txBox="1"/>
            <p:nvPr/>
          </p:nvSpPr>
          <p:spPr bwMode="auto">
            <a:xfrm>
              <a:off x="4510004" y="3146093"/>
              <a:ext cx="424528" cy="436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800" b="1" kern="0" dirty="0">
                  <a:solidFill>
                    <a:schemeClr val="bg1"/>
                  </a:solidFill>
                </a:rPr>
                <a:t>D</a:t>
              </a:r>
              <a:endParaRPr kumimoji="0" lang="zh-CN" alt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TextBox 61"/>
            <p:cNvSpPr txBox="1"/>
            <p:nvPr/>
          </p:nvSpPr>
          <p:spPr bwMode="auto">
            <a:xfrm>
              <a:off x="4106985" y="3150285"/>
              <a:ext cx="424528" cy="436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800" b="1" kern="0" noProof="0" dirty="0" smtClean="0">
                  <a:solidFill>
                    <a:schemeClr val="bg1"/>
                  </a:solidFill>
                </a:rPr>
                <a:t>C</a:t>
              </a:r>
              <a:endParaRPr kumimoji="0" lang="zh-CN" alt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TextBox 62"/>
            <p:cNvSpPr txBox="1"/>
            <p:nvPr/>
          </p:nvSpPr>
          <p:spPr bwMode="auto">
            <a:xfrm>
              <a:off x="4106986" y="2671082"/>
              <a:ext cx="424528" cy="54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altLang="zh-CN" sz="2800" b="1" kern="0" dirty="0">
                  <a:solidFill>
                    <a:schemeClr val="bg1"/>
                  </a:solidFill>
                </a:rPr>
                <a:t>A</a:t>
              </a:r>
              <a:endParaRPr kumimoji="0" lang="zh-CN" alt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TextBox 63"/>
            <p:cNvSpPr txBox="1"/>
            <p:nvPr/>
          </p:nvSpPr>
          <p:spPr bwMode="auto">
            <a:xfrm rot="700319">
              <a:off x="4491367" y="1570526"/>
              <a:ext cx="574108" cy="5342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收集资料</a:t>
              </a:r>
            </a:p>
          </p:txBody>
        </p:sp>
        <p:sp>
          <p:nvSpPr>
            <p:cNvPr id="65" name="TextBox 64"/>
            <p:cNvSpPr txBox="1"/>
            <p:nvPr/>
          </p:nvSpPr>
          <p:spPr bwMode="auto">
            <a:xfrm rot="1767277">
              <a:off x="4992473" y="1842727"/>
              <a:ext cx="574108" cy="5342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kern="0" dirty="0">
                  <a:solidFill>
                    <a:schemeClr val="bg1"/>
                  </a:solidFill>
                </a:rPr>
                <a:t>分析</a:t>
              </a:r>
              <a:endPara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TextBox 65"/>
            <p:cNvSpPr txBox="1"/>
            <p:nvPr/>
          </p:nvSpPr>
          <p:spPr bwMode="auto">
            <a:xfrm rot="2846365">
              <a:off x="5438601" y="2162646"/>
              <a:ext cx="574108" cy="5342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kern="0" dirty="0" smtClean="0">
                  <a:solidFill>
                    <a:schemeClr val="bg1"/>
                  </a:solidFill>
                </a:rPr>
                <a:t>目标确认</a:t>
              </a:r>
              <a:endPara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TextBox 66"/>
            <p:cNvSpPr txBox="1"/>
            <p:nvPr/>
          </p:nvSpPr>
          <p:spPr bwMode="auto">
            <a:xfrm rot="3778370">
              <a:off x="5778814" y="2769490"/>
              <a:ext cx="698787" cy="320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kern="0" dirty="0">
                  <a:solidFill>
                    <a:schemeClr val="bg1"/>
                  </a:solidFill>
                </a:rPr>
                <a:t>计划实施</a:t>
              </a:r>
            </a:p>
          </p:txBody>
        </p:sp>
        <p:sp>
          <p:nvSpPr>
            <p:cNvPr id="68" name="TextBox 67"/>
            <p:cNvSpPr txBox="1"/>
            <p:nvPr/>
          </p:nvSpPr>
          <p:spPr bwMode="auto">
            <a:xfrm rot="361924">
              <a:off x="4862534" y="3746733"/>
              <a:ext cx="977008" cy="5342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执行措施</a:t>
              </a:r>
            </a:p>
          </p:txBody>
        </p:sp>
        <p:sp>
          <p:nvSpPr>
            <p:cNvPr id="69" name="TextBox 68"/>
            <p:cNvSpPr txBox="1"/>
            <p:nvPr/>
          </p:nvSpPr>
          <p:spPr bwMode="auto">
            <a:xfrm rot="20877373">
              <a:off x="3241014" y="3768852"/>
              <a:ext cx="977008" cy="419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检查结果</a:t>
              </a:r>
            </a:p>
          </p:txBody>
        </p:sp>
        <p:sp>
          <p:nvSpPr>
            <p:cNvPr id="70" name="TextBox 69"/>
            <p:cNvSpPr txBox="1"/>
            <p:nvPr/>
          </p:nvSpPr>
          <p:spPr bwMode="auto">
            <a:xfrm rot="19364831">
              <a:off x="3247969" y="1928011"/>
              <a:ext cx="977008" cy="593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总结经验</a:t>
              </a:r>
              <a:endParaRPr kumimoji="0" lang="en-US" altLang="zh-CN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600" b="1" kern="0" dirty="0" smtClean="0">
                  <a:solidFill>
                    <a:schemeClr val="bg1"/>
                  </a:solidFill>
                </a:rPr>
                <a:t>修订目标</a:t>
              </a:r>
              <a:endPara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Arc 71"/>
            <p:cNvSpPr/>
            <p:nvPr/>
          </p:nvSpPr>
          <p:spPr>
            <a:xfrm rot="2099574">
              <a:off x="4315671" y="1664998"/>
              <a:ext cx="2038162" cy="971550"/>
            </a:xfrm>
            <a:prstGeom prst="arc">
              <a:avLst>
                <a:gd name="adj1" fmla="val 12821088"/>
                <a:gd name="adj2" fmla="val 20548242"/>
              </a:avLst>
            </a:prstGeom>
            <a:noFill/>
            <a:ln w="38100" cap="flat" cmpd="sng" algn="ctr">
              <a:solidFill>
                <a:srgbClr val="FFFFFF"/>
              </a:solidFill>
              <a:prstDash val="solid"/>
              <a:headEnd type="none" w="med" len="med"/>
              <a:tailEnd type="arrow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91424" tIns="45712" rIns="91424" bIns="45712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Arc 72"/>
            <p:cNvSpPr/>
            <p:nvPr/>
          </p:nvSpPr>
          <p:spPr>
            <a:xfrm rot="7325659">
              <a:off x="4642891" y="3354422"/>
              <a:ext cx="2038162" cy="971550"/>
            </a:xfrm>
            <a:prstGeom prst="arc">
              <a:avLst>
                <a:gd name="adj1" fmla="val 12821088"/>
                <a:gd name="adj2" fmla="val 20548242"/>
              </a:avLst>
            </a:prstGeom>
            <a:noFill/>
            <a:ln w="38100" cap="flat" cmpd="sng" algn="ctr">
              <a:solidFill>
                <a:srgbClr val="FFFFFF"/>
              </a:solidFill>
              <a:prstDash val="solid"/>
              <a:headEnd type="none" w="med" len="med"/>
              <a:tailEnd type="arrow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91424" tIns="45712" rIns="91424" bIns="45712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Arc 73"/>
            <p:cNvSpPr/>
            <p:nvPr/>
          </p:nvSpPr>
          <p:spPr>
            <a:xfrm rot="13244039">
              <a:off x="2577273" y="3696763"/>
              <a:ext cx="2038162" cy="971550"/>
            </a:xfrm>
            <a:prstGeom prst="arc">
              <a:avLst>
                <a:gd name="adj1" fmla="val 12821088"/>
                <a:gd name="adj2" fmla="val 20548242"/>
              </a:avLst>
            </a:prstGeom>
            <a:noFill/>
            <a:ln w="38100" cap="flat" cmpd="sng" algn="ctr">
              <a:solidFill>
                <a:srgbClr val="FFFFFF"/>
              </a:solidFill>
              <a:prstDash val="solid"/>
              <a:headEnd type="none" w="med" len="med"/>
              <a:tailEnd type="arrow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91424" tIns="45712" rIns="91424" bIns="45712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Arc 74"/>
            <p:cNvSpPr/>
            <p:nvPr/>
          </p:nvSpPr>
          <p:spPr>
            <a:xfrm rot="18482963">
              <a:off x="2364434" y="1909718"/>
              <a:ext cx="2038162" cy="971550"/>
            </a:xfrm>
            <a:prstGeom prst="arc">
              <a:avLst>
                <a:gd name="adj1" fmla="val 12821088"/>
                <a:gd name="adj2" fmla="val 20548242"/>
              </a:avLst>
            </a:prstGeom>
            <a:noFill/>
            <a:ln w="38100" cap="flat" cmpd="sng" algn="ctr">
              <a:solidFill>
                <a:srgbClr val="FFFFFF"/>
              </a:solidFill>
              <a:prstDash val="solid"/>
              <a:headEnd type="none" w="med" len="med"/>
              <a:tailEnd type="arrow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91424" tIns="45712" rIns="91424" bIns="45712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9" name="Group 78"/>
            <p:cNvGrpSpPr>
              <a:grpSpLocks/>
            </p:cNvGrpSpPr>
            <p:nvPr/>
          </p:nvGrpSpPr>
          <p:grpSpPr bwMode="auto">
            <a:xfrm>
              <a:off x="3838364" y="692696"/>
              <a:ext cx="1325118" cy="824924"/>
              <a:chOff x="1082902" y="5200438"/>
              <a:chExt cx="4393059" cy="1173468"/>
            </a:xfrm>
            <a:gradFill flip="none" rotWithShape="1">
              <a:gsLst>
                <a:gs pos="0">
                  <a:srgbClr val="1D4C7C">
                    <a:lumMod val="50000"/>
                    <a:shade val="30000"/>
                    <a:satMod val="115000"/>
                  </a:srgbClr>
                </a:gs>
                <a:gs pos="50000">
                  <a:srgbClr val="1D4C7C">
                    <a:lumMod val="75000"/>
                  </a:srgbClr>
                </a:gs>
                <a:gs pos="100000">
                  <a:srgbClr val="3397D3"/>
                </a:gs>
              </a:gsLst>
              <a:lin ang="16200000" scaled="1"/>
              <a:tileRect/>
            </a:gradFill>
            <a:effectLst>
              <a:outerShdw blurRad="88900" dist="50800" dir="9240000" sx="92000" sy="92000" algn="ctr" rotWithShape="0">
                <a:srgbClr val="363535">
                  <a:alpha val="85000"/>
                </a:srgbClr>
              </a:outerShdw>
            </a:effectLst>
          </p:grpSpPr>
          <p:sp>
            <p:nvSpPr>
              <p:cNvPr id="80" name="Isosceles Triangle 79"/>
              <p:cNvSpPr/>
              <p:nvPr/>
            </p:nvSpPr>
            <p:spPr bwMode="auto">
              <a:xfrm rot="10800000">
                <a:off x="1082902" y="5200438"/>
                <a:ext cx="4393059" cy="1173468"/>
              </a:xfrm>
              <a:prstGeom prst="triangle">
                <a:avLst/>
              </a:prstGeom>
              <a:grp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pPr marL="0" marR="0" lvl="0" indent="0" algn="ctr" defTabSz="914249" eaLnBrk="1" fontAlgn="auto" latinLnBrk="0" hangingPunct="1">
                  <a:lnSpc>
                    <a:spcPts val="1700"/>
                  </a:lnSpc>
                  <a:spcBef>
                    <a:spcPts val="630"/>
                  </a:spcBef>
                  <a:spcAft>
                    <a:spcPts val="0"/>
                  </a:spcAft>
                  <a:buClr>
                    <a:srgbClr val="FFFF99"/>
                  </a:buClr>
                  <a:buSzPct val="120000"/>
                  <a:buFontTx/>
                  <a:buNone/>
                  <a:tabLst/>
                  <a:defRPr/>
                </a:pPr>
                <a:endParaRPr kumimoji="0" lang="en-US" altLang="zh-CN" sz="1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6000">
                        <a:srgbClr val="FFFFFF"/>
                      </a:gs>
                      <a:gs pos="86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cs typeface="Segoe UI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1948224" y="5378142"/>
                <a:ext cx="2662414" cy="547266"/>
              </a:xfrm>
              <a:prstGeom prst="rect">
                <a:avLst/>
              </a:prstGeom>
              <a:noFill/>
            </p:spPr>
            <p:txBody>
              <a:bodyPr lIns="76197" tIns="38098" rIns="76197" bIns="38098">
                <a:spAutoFit/>
              </a:bodyPr>
              <a:lstStyle/>
              <a:p>
                <a:pPr marL="0" marR="0" lvl="0" indent="0" algn="ctr" defTabSz="91424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0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75000">
                          <a:srgbClr val="FFFFFF"/>
                        </a:gs>
                      </a:gsLst>
                      <a:lin ang="16200000" scaled="0"/>
                    </a:gradFill>
                    <a:effectLst>
                      <a:outerShdw blurRad="63500" dist="38100" dir="2700000" algn="tl">
                        <a:srgbClr val="000000">
                          <a:alpha val="82000"/>
                        </a:srgbClr>
                      </a:outerShdw>
                    </a:effectLst>
                    <a:uLnTx/>
                    <a:uFillTx/>
                    <a:cs typeface="Arial" pitchFamily="34" charset="0"/>
                  </a:rPr>
                  <a:t>目标</a:t>
                </a: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75000">
                        <a:srgbClr val="FFFFFF"/>
                      </a:gs>
                    </a:gsLst>
                    <a:lin ang="16200000" scaled="0"/>
                  </a:gradFill>
                  <a:effectLst>
                    <a:outerShdw blurRad="63500" dist="38100" dir="2700000" algn="tl">
                      <a:srgbClr val="000000">
                        <a:alpha val="82000"/>
                      </a:srgbClr>
                    </a:outerShdw>
                  </a:effectLst>
                  <a:uLnTx/>
                  <a:uFillTx/>
                  <a:cs typeface="Arial" pitchFamily="34" charset="0"/>
                </a:endParaRPr>
              </a:p>
            </p:txBody>
          </p:sp>
        </p:grpSp>
        <p:sp>
          <p:nvSpPr>
            <p:cNvPr id="84" name="Rectangle 29"/>
            <p:cNvSpPr>
              <a:spLocks noChangeArrowheads="1"/>
            </p:cNvSpPr>
            <p:nvPr/>
          </p:nvSpPr>
          <p:spPr bwMode="auto">
            <a:xfrm rot="208747">
              <a:off x="3914658" y="4911151"/>
              <a:ext cx="1233710" cy="3289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8578" tIns="34289" rIns="68578" bIns="34289">
              <a:spAutoFit/>
            </a:bodyPr>
            <a:lstStyle/>
            <a:p>
              <a:pPr marL="2976" indent="-2976" algn="ctr">
                <a:lnSpc>
                  <a:spcPts val="2000"/>
                </a:lnSpc>
                <a:spcAft>
                  <a:spcPts val="375"/>
                </a:spcAft>
                <a:defRPr/>
              </a:pPr>
              <a:r>
                <a:rPr 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D</a:t>
              </a:r>
              <a:r>
                <a:rPr lang="en-US" altLang="zh-CN" b="1" dirty="0" smtClean="0">
                  <a:solidFill>
                    <a:srgbClr val="FFFF00"/>
                  </a:solidFill>
                  <a:latin typeface="Segoe UI Light" pitchFamily="34" charset="0"/>
                </a:rPr>
                <a:t>o</a:t>
              </a:r>
              <a:r>
                <a:rPr 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 </a:t>
              </a:r>
              <a:r>
                <a:rPr lang="zh-CN" alt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实施</a:t>
              </a:r>
              <a:endParaRPr lang="en-US" b="1" dirty="0">
                <a:solidFill>
                  <a:srgbClr val="FFFF00"/>
                </a:solidFill>
                <a:latin typeface="Segoe UI Light" pitchFamily="34" charset="0"/>
              </a:endParaRPr>
            </a:p>
          </p:txBody>
        </p:sp>
        <p:sp>
          <p:nvSpPr>
            <p:cNvPr id="85" name="Rectangle 29"/>
            <p:cNvSpPr>
              <a:spLocks noChangeArrowheads="1"/>
            </p:cNvSpPr>
            <p:nvPr/>
          </p:nvSpPr>
          <p:spPr bwMode="auto">
            <a:xfrm rot="208747">
              <a:off x="1412279" y="3017767"/>
              <a:ext cx="1360014" cy="3257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8578" tIns="34289" rIns="68578" bIns="34289">
              <a:spAutoFit/>
            </a:bodyPr>
            <a:lstStyle/>
            <a:p>
              <a:pPr marL="2976" indent="-2976" algn="ctr">
                <a:lnSpc>
                  <a:spcPts val="2000"/>
                </a:lnSpc>
                <a:spcAft>
                  <a:spcPts val="375"/>
                </a:spcAft>
                <a:defRPr/>
              </a:pPr>
              <a:r>
                <a:rPr 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Check  </a:t>
              </a:r>
              <a:r>
                <a:rPr lang="zh-CN" alt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检查</a:t>
              </a:r>
              <a:endParaRPr lang="en-US" b="1" dirty="0">
                <a:solidFill>
                  <a:srgbClr val="FFFF00"/>
                </a:solidFill>
                <a:latin typeface="Segoe UI Light" pitchFamily="34" charset="0"/>
              </a:endParaRPr>
            </a:p>
          </p:txBody>
        </p:sp>
        <p:sp>
          <p:nvSpPr>
            <p:cNvPr id="86" name="Rectangle 29"/>
            <p:cNvSpPr>
              <a:spLocks noChangeArrowheads="1"/>
            </p:cNvSpPr>
            <p:nvPr/>
          </p:nvSpPr>
          <p:spPr bwMode="auto">
            <a:xfrm rot="208747">
              <a:off x="2791885" y="1059408"/>
              <a:ext cx="1360014" cy="3257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8578" tIns="34289" rIns="68578" bIns="34289">
              <a:spAutoFit/>
            </a:bodyPr>
            <a:lstStyle/>
            <a:p>
              <a:pPr marL="2976" indent="-2976" algn="ctr">
                <a:lnSpc>
                  <a:spcPts val="2000"/>
                </a:lnSpc>
                <a:spcAft>
                  <a:spcPts val="375"/>
                </a:spcAft>
                <a:defRPr/>
              </a:pPr>
              <a:r>
                <a:rPr 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Action  </a:t>
              </a:r>
              <a:r>
                <a:rPr lang="zh-CN" altLang="en-US" b="1" dirty="0" smtClean="0">
                  <a:solidFill>
                    <a:srgbClr val="FFFF00"/>
                  </a:solidFill>
                  <a:latin typeface="Segoe UI Light" pitchFamily="34" charset="0"/>
                </a:rPr>
                <a:t>处理</a:t>
              </a:r>
              <a:endParaRPr lang="en-US" b="1" dirty="0">
                <a:solidFill>
                  <a:srgbClr val="FFFF00"/>
                </a:solidFill>
                <a:latin typeface="Segoe UI Light" pitchFamily="34" charset="0"/>
              </a:endParaRP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4832461" y="1024377"/>
            <a:ext cx="2300687" cy="551672"/>
            <a:chOff x="4832461" y="1024377"/>
            <a:chExt cx="2300687" cy="551672"/>
          </a:xfrm>
        </p:grpSpPr>
        <p:cxnSp>
          <p:nvCxnSpPr>
            <p:cNvPr id="93" name="Elbow Connector 92"/>
            <p:cNvCxnSpPr>
              <a:stCxn id="64" idx="0"/>
            </p:cNvCxnSpPr>
            <p:nvPr/>
          </p:nvCxnSpPr>
          <p:spPr>
            <a:xfrm rot="5400000" flipH="1" flipV="1">
              <a:off x="4869138" y="1165658"/>
              <a:ext cx="373714" cy="447068"/>
            </a:xfrm>
            <a:prstGeom prst="bentConnector2">
              <a:avLst/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3" name="MGT outline"/>
            <p:cNvSpPr/>
            <p:nvPr/>
          </p:nvSpPr>
          <p:spPr bwMode="auto">
            <a:xfrm>
              <a:off x="5279529" y="1024377"/>
              <a:ext cx="1853619" cy="354532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8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alpha val="98824"/>
                    </a:srgbClr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分析现状，发现问题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98824"/>
                  </a:srgb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5576647" y="1460321"/>
            <a:ext cx="2883785" cy="536491"/>
            <a:chOff x="5576647" y="1460321"/>
            <a:chExt cx="2883785" cy="536491"/>
          </a:xfrm>
        </p:grpSpPr>
        <p:cxnSp>
          <p:nvCxnSpPr>
            <p:cNvPr id="94" name="Elbow Connector 93"/>
            <p:cNvCxnSpPr/>
            <p:nvPr/>
          </p:nvCxnSpPr>
          <p:spPr>
            <a:xfrm flipV="1">
              <a:off x="5576647" y="1623883"/>
              <a:ext cx="533542" cy="372929"/>
            </a:xfrm>
            <a:prstGeom prst="bentConnector3">
              <a:avLst>
                <a:gd name="adj1" fmla="val -1007"/>
              </a:avLst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8" name="MGT outline"/>
            <p:cNvSpPr/>
            <p:nvPr/>
          </p:nvSpPr>
          <p:spPr bwMode="auto">
            <a:xfrm>
              <a:off x="6116557" y="1460321"/>
              <a:ext cx="2343875" cy="354532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8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alpha val="98824"/>
                    </a:srgbClr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分析问题中的各种影响因素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98824"/>
                  </a:srgbClr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914645" y="1967253"/>
            <a:ext cx="2698186" cy="402489"/>
            <a:chOff x="5914645" y="1967253"/>
            <a:chExt cx="2698186" cy="402489"/>
          </a:xfrm>
        </p:grpSpPr>
        <p:sp>
          <p:nvSpPr>
            <p:cNvPr id="109" name="MGT outline"/>
            <p:cNvSpPr/>
            <p:nvPr/>
          </p:nvSpPr>
          <p:spPr bwMode="auto">
            <a:xfrm>
              <a:off x="6268956" y="1967253"/>
              <a:ext cx="2343875" cy="354532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398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找出影响问题的主要</a:t>
              </a:r>
              <a:r>
                <a:rPr lang="zh-CN" altLang="en-US" sz="1400" b="1" kern="0" dirty="0" smtClean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原因</a:t>
              </a:r>
              <a:endParaRPr lang="zh-CN" altLang="en-US" sz="1400" b="1" kern="0" dirty="0">
                <a:solidFill>
                  <a:srgbClr val="FFFFFF">
                    <a:alpha val="98824"/>
                  </a:srgbClr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10" name="Elbow Connector 109"/>
            <p:cNvCxnSpPr>
              <a:endCxn id="109" idx="1"/>
            </p:cNvCxnSpPr>
            <p:nvPr/>
          </p:nvCxnSpPr>
          <p:spPr>
            <a:xfrm flipV="1">
              <a:off x="5914645" y="2144519"/>
              <a:ext cx="354311" cy="225223"/>
            </a:xfrm>
            <a:prstGeom prst="bentConnector3">
              <a:avLst>
                <a:gd name="adj1" fmla="val -5302"/>
              </a:avLst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3" name="Group 142"/>
          <p:cNvGrpSpPr/>
          <p:nvPr/>
        </p:nvGrpSpPr>
        <p:grpSpPr>
          <a:xfrm>
            <a:off x="6128207" y="2589142"/>
            <a:ext cx="2764274" cy="362164"/>
            <a:chOff x="6128207" y="2589142"/>
            <a:chExt cx="2764274" cy="362164"/>
          </a:xfrm>
        </p:grpSpPr>
        <p:sp>
          <p:nvSpPr>
            <p:cNvPr id="114" name="MGT outline"/>
            <p:cNvSpPr/>
            <p:nvPr/>
          </p:nvSpPr>
          <p:spPr bwMode="auto">
            <a:xfrm>
              <a:off x="6319465" y="2589142"/>
              <a:ext cx="2573016" cy="362164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398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 smtClean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针对主要原因，提出解决措施</a:t>
              </a:r>
              <a:endParaRPr lang="zh-CN" altLang="en-US" sz="1400" b="1" kern="0" dirty="0">
                <a:solidFill>
                  <a:srgbClr val="FFFFFF">
                    <a:alpha val="98824"/>
                  </a:srgbClr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18" name="Straight Arrow Connector 117"/>
            <p:cNvCxnSpPr>
              <a:endCxn id="114" idx="1"/>
            </p:cNvCxnSpPr>
            <p:nvPr/>
          </p:nvCxnSpPr>
          <p:spPr>
            <a:xfrm flipV="1">
              <a:off x="6128207" y="2770224"/>
              <a:ext cx="191258" cy="51638"/>
            </a:xfrm>
            <a:prstGeom prst="straightConnector1">
              <a:avLst/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4" name="Group 143"/>
          <p:cNvGrpSpPr/>
          <p:nvPr/>
        </p:nvGrpSpPr>
        <p:grpSpPr>
          <a:xfrm>
            <a:off x="5836837" y="4065182"/>
            <a:ext cx="2454367" cy="325733"/>
            <a:chOff x="5836837" y="4065182"/>
            <a:chExt cx="2454367" cy="325733"/>
          </a:xfrm>
        </p:grpSpPr>
        <p:sp>
          <p:nvSpPr>
            <p:cNvPr id="113" name="MGT outline"/>
            <p:cNvSpPr/>
            <p:nvPr/>
          </p:nvSpPr>
          <p:spPr bwMode="auto">
            <a:xfrm>
              <a:off x="6590581" y="4077072"/>
              <a:ext cx="1700623" cy="313843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398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 smtClean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执行解决措施</a:t>
              </a:r>
              <a:endParaRPr lang="zh-CN" altLang="en-US" sz="1400" b="1" kern="0" dirty="0">
                <a:solidFill>
                  <a:srgbClr val="FFFFFF">
                    <a:alpha val="98824"/>
                  </a:srgbClr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20" name="Elbow Connector 119"/>
            <p:cNvCxnSpPr>
              <a:stCxn id="68" idx="3"/>
              <a:endCxn id="113" idx="1"/>
            </p:cNvCxnSpPr>
            <p:nvPr/>
          </p:nvCxnSpPr>
          <p:spPr>
            <a:xfrm>
              <a:off x="5836837" y="4065182"/>
              <a:ext cx="753744" cy="16881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5" name="Group 144"/>
          <p:cNvGrpSpPr/>
          <p:nvPr/>
        </p:nvGrpSpPr>
        <p:grpSpPr>
          <a:xfrm>
            <a:off x="658189" y="4065182"/>
            <a:ext cx="2509853" cy="515946"/>
            <a:chOff x="658189" y="4065182"/>
            <a:chExt cx="2509853" cy="515946"/>
          </a:xfrm>
        </p:grpSpPr>
        <p:sp>
          <p:nvSpPr>
            <p:cNvPr id="129" name="MGT outline"/>
            <p:cNvSpPr/>
            <p:nvPr/>
          </p:nvSpPr>
          <p:spPr bwMode="auto">
            <a:xfrm>
              <a:off x="658189" y="4065182"/>
              <a:ext cx="1700623" cy="515946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398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检查执行结果是否达到了预定的目标</a:t>
              </a:r>
            </a:p>
          </p:txBody>
        </p:sp>
        <p:cxnSp>
          <p:nvCxnSpPr>
            <p:cNvPr id="130" name="Elbow Connector 129"/>
            <p:cNvCxnSpPr>
              <a:endCxn id="129" idx="3"/>
            </p:cNvCxnSpPr>
            <p:nvPr/>
          </p:nvCxnSpPr>
          <p:spPr>
            <a:xfrm rot="10800000" flipV="1">
              <a:off x="2358812" y="4129065"/>
              <a:ext cx="809230" cy="19408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6" name="Group 145"/>
          <p:cNvGrpSpPr/>
          <p:nvPr/>
        </p:nvGrpSpPr>
        <p:grpSpPr>
          <a:xfrm>
            <a:off x="391663" y="1954610"/>
            <a:ext cx="2776378" cy="515946"/>
            <a:chOff x="391663" y="1954610"/>
            <a:chExt cx="2776378" cy="515946"/>
          </a:xfrm>
        </p:grpSpPr>
        <p:sp>
          <p:nvSpPr>
            <p:cNvPr id="134" name="MGT outline"/>
            <p:cNvSpPr/>
            <p:nvPr/>
          </p:nvSpPr>
          <p:spPr bwMode="auto">
            <a:xfrm>
              <a:off x="391663" y="1954610"/>
              <a:ext cx="1804073" cy="515946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398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 smtClean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总结成功经验， 制定</a:t>
              </a:r>
              <a:r>
                <a:rPr lang="zh-CN" altLang="en-US" sz="1400" b="1" kern="0" dirty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相应的标准</a:t>
              </a:r>
            </a:p>
          </p:txBody>
        </p:sp>
        <p:cxnSp>
          <p:nvCxnSpPr>
            <p:cNvPr id="135" name="Elbow Connector 134"/>
            <p:cNvCxnSpPr/>
            <p:nvPr/>
          </p:nvCxnSpPr>
          <p:spPr>
            <a:xfrm rot="10800000">
              <a:off x="2159480" y="2283685"/>
              <a:ext cx="1008561" cy="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7" name="Group 146"/>
          <p:cNvGrpSpPr/>
          <p:nvPr/>
        </p:nvGrpSpPr>
        <p:grpSpPr>
          <a:xfrm>
            <a:off x="956175" y="897761"/>
            <a:ext cx="3553037" cy="726122"/>
            <a:chOff x="956175" y="897761"/>
            <a:chExt cx="3553037" cy="726122"/>
          </a:xfrm>
        </p:grpSpPr>
        <p:sp>
          <p:nvSpPr>
            <p:cNvPr id="137" name="MGT outline"/>
            <p:cNvSpPr/>
            <p:nvPr/>
          </p:nvSpPr>
          <p:spPr bwMode="auto">
            <a:xfrm>
              <a:off x="956175" y="897761"/>
              <a:ext cx="1804073" cy="726122"/>
            </a:xfrm>
            <a:prstGeom prst="roundRect">
              <a:avLst>
                <a:gd name="adj" fmla="val 6092"/>
              </a:avLst>
            </a:prstGeom>
            <a:solidFill>
              <a:srgbClr val="3BBEB4">
                <a:lumMod val="75000"/>
                <a:alpha val="13000"/>
              </a:srgbClr>
            </a:solidFill>
            <a:ln w="25400" cap="flat" cmpd="sng" algn="ctr">
              <a:solidFill>
                <a:srgbClr val="3BBEB4">
                  <a:lumMod val="75000"/>
                </a:srgbClr>
              </a:solidFill>
              <a:prstDash val="sysDot"/>
              <a:headEnd type="none" w="med" len="med"/>
              <a:tailEnd type="none" w="med" len="med"/>
            </a:ln>
            <a:effectLst/>
          </p:spPr>
          <p:txBody>
            <a:bodyPr vert="horz" wrap="square" lIns="91424" tIns="45712" rIns="91424" bIns="45712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398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没有解决或新出现的问题转入下一个</a:t>
              </a:r>
              <a:r>
                <a:rPr lang="en-US" altLang="zh-CN" sz="1400" b="1" kern="0" dirty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PDCA</a:t>
              </a:r>
              <a:r>
                <a:rPr lang="zh-CN" altLang="en-US" sz="1400" b="1" kern="0" dirty="0">
                  <a:solidFill>
                    <a:srgbClr val="FFFFFF">
                      <a:alpha val="98824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循 环去解决</a:t>
              </a:r>
            </a:p>
          </p:txBody>
        </p:sp>
        <p:cxnSp>
          <p:nvCxnSpPr>
            <p:cNvPr id="138" name="Elbow Connector 137"/>
            <p:cNvCxnSpPr>
              <a:stCxn id="2" idx="0"/>
            </p:cNvCxnSpPr>
            <p:nvPr/>
          </p:nvCxnSpPr>
          <p:spPr>
            <a:xfrm rot="16200000" flipV="1">
              <a:off x="3558674" y="588166"/>
              <a:ext cx="159796" cy="1741281"/>
            </a:xfrm>
            <a:prstGeom prst="bentConnector2">
              <a:avLst/>
            </a:prstGeom>
            <a:ln w="19050">
              <a:solidFill>
                <a:schemeClr val="bg1"/>
              </a:solidFill>
              <a:prstDash val="sysDash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" name="矩形 4"/>
          <p:cNvSpPr/>
          <p:nvPr/>
        </p:nvSpPr>
        <p:spPr>
          <a:xfrm>
            <a:off x="4018002" y="5363924"/>
            <a:ext cx="4108817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kern="0" dirty="0">
                <a:solidFill>
                  <a:schemeClr val="bg1"/>
                </a:solidFill>
              </a:rPr>
              <a:t>收集</a:t>
            </a:r>
            <a:r>
              <a:rPr lang="zh-CN" altLang="en-US" b="1" kern="0" dirty="0" smtClean="0">
                <a:solidFill>
                  <a:schemeClr val="bg1"/>
                </a:solidFill>
              </a:rPr>
              <a:t>资料，分析，</a:t>
            </a:r>
            <a:r>
              <a:rPr lang="zh-CN" altLang="en-US" b="1" kern="0" dirty="0">
                <a:solidFill>
                  <a:schemeClr val="bg1"/>
                </a:solidFill>
              </a:rPr>
              <a:t>目标</a:t>
            </a:r>
            <a:r>
              <a:rPr lang="zh-CN" altLang="en-US" b="1" kern="0" dirty="0" smtClean="0">
                <a:solidFill>
                  <a:schemeClr val="bg1"/>
                </a:solidFill>
              </a:rPr>
              <a:t>确认，</a:t>
            </a:r>
            <a:r>
              <a:rPr lang="zh-CN" altLang="en-US" b="1" kern="0" dirty="0">
                <a:solidFill>
                  <a:schemeClr val="bg1"/>
                </a:solidFill>
              </a:rPr>
              <a:t>计划实施</a:t>
            </a:r>
          </a:p>
          <a:p>
            <a:endParaRPr lang="zh-CN" altLang="en-US" b="1" kern="0" dirty="0">
              <a:solidFill>
                <a:schemeClr val="bg1"/>
              </a:solidFill>
            </a:endParaRPr>
          </a:p>
          <a:p>
            <a:endParaRPr lang="zh-CN" altLang="en-US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964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8"/>
          <p:cNvSpPr/>
          <p:nvPr/>
        </p:nvSpPr>
        <p:spPr bwMode="auto">
          <a:xfrm>
            <a:off x="187597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1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Rectangle 59"/>
          <p:cNvSpPr/>
          <p:nvPr/>
        </p:nvSpPr>
        <p:spPr bwMode="auto">
          <a:xfrm>
            <a:off x="716177" y="18864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项目背景。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sp>
        <p:nvSpPr>
          <p:cNvPr id="2" name="文本框 1"/>
          <p:cNvSpPr txBox="1"/>
          <p:nvPr/>
        </p:nvSpPr>
        <p:spPr bwMode="auto">
          <a:xfrm>
            <a:off x="611560" y="1124744"/>
            <a:ext cx="8064896" cy="4464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chemeClr val="bg1"/>
                </a:solidFill>
              </a:rPr>
              <a:t>        随着公司的的订单负责化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多样化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和车间的产能的不断提高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对钣金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PP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作业计划员的要求逐步提高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主要体现在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zh-CN" altLang="en-US" sz="1400" kern="0" dirty="0">
                <a:solidFill>
                  <a:schemeClr val="bg1"/>
                </a:solidFill>
              </a:rPr>
              <a:t>更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高的应变能力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车间间的异常产生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及时的调整计划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.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更高的效率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  </a:t>
            </a:r>
            <a:r>
              <a:rPr lang="zh-CN" altLang="en-US" sz="1400" kern="0" dirty="0">
                <a:solidFill>
                  <a:schemeClr val="bg1"/>
                </a:solidFill>
              </a:rPr>
              <a:t>交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期的缩短需要更快把计划排好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更高的准确性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  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工位之间的衔接精确到分钟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存在问题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: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zh-CN" altLang="en-US" sz="1400" kern="0" noProof="0" dirty="0" smtClean="0">
                <a:solidFill>
                  <a:schemeClr val="bg1"/>
                </a:solidFill>
              </a:rPr>
              <a:t>作业计划还是手工排产</a:t>
            </a:r>
            <a:r>
              <a:rPr lang="en-US" altLang="zh-CN" sz="1400" kern="0" noProof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有时排错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漏排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.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作业计划手工排产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当计划调整时应变能力不够强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作业计划手工排产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效率不高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钣金作业计划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喷涂作业计划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门头作业计划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3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个人在排产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;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基于以上情况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: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altLang="zh-CN" sz="1400" kern="0" dirty="0" smtClean="0">
                <a:solidFill>
                  <a:schemeClr val="bg1"/>
                </a:solidFill>
              </a:rPr>
              <a:t>      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经过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IT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和管理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层决定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立项</a:t>
            </a:r>
            <a:r>
              <a:rPr lang="en-US" altLang="zh-CN" sz="1400" kern="0" dirty="0">
                <a:solidFill>
                  <a:schemeClr val="bg1"/>
                </a:solidFill>
              </a:rPr>
              <a:t>,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由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CE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李工支持开发一个排产工具解决这个问题</a:t>
            </a:r>
            <a:r>
              <a:rPr lang="en-US" altLang="zh-CN" sz="1400" kern="0" dirty="0" smtClean="0">
                <a:solidFill>
                  <a:schemeClr val="bg1"/>
                </a:solidFill>
              </a:rPr>
              <a:t>.</a:t>
            </a:r>
            <a:endParaRPr kumimoji="0" lang="zh-CN" alt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4924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60"/>
          <p:cNvSpPr/>
          <p:nvPr/>
        </p:nvSpPr>
        <p:spPr bwMode="auto">
          <a:xfrm>
            <a:off x="179512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2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61"/>
          <p:cNvSpPr/>
          <p:nvPr/>
        </p:nvSpPr>
        <p:spPr bwMode="auto">
          <a:xfrm>
            <a:off x="708092" y="18864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项目整体计划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pic>
        <p:nvPicPr>
          <p:cNvPr id="39" name="Picture 8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767" y="207920"/>
            <a:ext cx="648072" cy="648072"/>
          </a:xfrm>
          <a:prstGeom prst="rect">
            <a:avLst/>
          </a:prstGeom>
        </p:spPr>
      </p:pic>
      <p:sp>
        <p:nvSpPr>
          <p:cNvPr id="14" name="TextBox 20"/>
          <p:cNvSpPr>
            <a:spLocks noChangeArrowheads="1"/>
          </p:cNvSpPr>
          <p:nvPr/>
        </p:nvSpPr>
        <p:spPr bwMode="auto">
          <a:xfrm>
            <a:off x="533400" y="1265138"/>
            <a:ext cx="11271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200" b="1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经典行书简" pitchFamily="1" charset="-122"/>
                <a:sym typeface="经典行书简" pitchFamily="1" charset="-122"/>
              </a:rPr>
              <a:t>Plan</a:t>
            </a: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经典行书简" pitchFamily="1" charset="-122"/>
              </a:rPr>
              <a:t>   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" name="TextBox 26"/>
          <p:cNvSpPr>
            <a:spLocks noChangeArrowheads="1"/>
          </p:cNvSpPr>
          <p:nvPr/>
        </p:nvSpPr>
        <p:spPr bwMode="auto">
          <a:xfrm>
            <a:off x="2112963" y="1341338"/>
            <a:ext cx="18113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b="1" kern="0" dirty="0" smtClean="0">
                <a:solidFill>
                  <a:schemeClr val="bg1"/>
                </a:solidFill>
                <a:ea typeface="经典行书简" pitchFamily="1" charset="-122"/>
                <a:sym typeface="经典行书简" pitchFamily="1" charset="-122"/>
              </a:rPr>
              <a:t>Do</a:t>
            </a: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6" name="TextBox 27"/>
          <p:cNvSpPr>
            <a:spLocks noChangeArrowheads="1"/>
          </p:cNvSpPr>
          <p:nvPr/>
        </p:nvSpPr>
        <p:spPr bwMode="auto">
          <a:xfrm>
            <a:off x="4160838" y="1346101"/>
            <a:ext cx="16002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b="1" kern="0" dirty="0" smtClean="0">
                <a:solidFill>
                  <a:schemeClr val="bg1"/>
                </a:solidFill>
                <a:ea typeface="经典行书简" pitchFamily="1" charset="-122"/>
                <a:sym typeface="经典行书简" pitchFamily="1" charset="-122"/>
              </a:rPr>
              <a:t>Check</a:t>
            </a: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7" name="TextBox 28"/>
          <p:cNvSpPr>
            <a:spLocks noChangeArrowheads="1"/>
          </p:cNvSpPr>
          <p:nvPr/>
        </p:nvSpPr>
        <p:spPr bwMode="auto">
          <a:xfrm>
            <a:off x="6191250" y="1346101"/>
            <a:ext cx="16002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b="1" kern="0" dirty="0" smtClean="0">
                <a:solidFill>
                  <a:schemeClr val="bg1"/>
                </a:solidFill>
                <a:ea typeface="经典行书简" pitchFamily="1" charset="-122"/>
                <a:sym typeface="经典行书简" pitchFamily="1" charset="-122"/>
              </a:rPr>
              <a:t>Action</a:t>
            </a: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18" name="Group 2"/>
          <p:cNvGrpSpPr>
            <a:grpSpLocks/>
          </p:cNvGrpSpPr>
          <p:nvPr/>
        </p:nvGrpSpPr>
        <p:grpSpPr bwMode="auto">
          <a:xfrm>
            <a:off x="683568" y="1857218"/>
            <a:ext cx="7776864" cy="3241030"/>
            <a:chOff x="427" y="1253"/>
            <a:chExt cx="3967" cy="1588"/>
          </a:xfrm>
        </p:grpSpPr>
        <p:sp>
          <p:nvSpPr>
            <p:cNvPr id="19" name="AutoShape 3"/>
            <p:cNvSpPr>
              <a:spLocks noChangeArrowheads="1"/>
            </p:cNvSpPr>
            <p:nvPr/>
          </p:nvSpPr>
          <p:spPr bwMode="auto">
            <a:xfrm>
              <a:off x="427" y="1253"/>
              <a:ext cx="969" cy="325"/>
            </a:xfrm>
            <a:prstGeom prst="rightArrow">
              <a:avLst>
                <a:gd name="adj1" fmla="val 56361"/>
                <a:gd name="adj2" fmla="val 38153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0" name="AutoShape 4"/>
            <p:cNvSpPr>
              <a:spLocks noChangeArrowheads="1"/>
            </p:cNvSpPr>
            <p:nvPr/>
          </p:nvSpPr>
          <p:spPr bwMode="auto">
            <a:xfrm>
              <a:off x="1429" y="1253"/>
              <a:ext cx="969" cy="325"/>
            </a:xfrm>
            <a:prstGeom prst="rightArrow">
              <a:avLst>
                <a:gd name="adj1" fmla="val 56361"/>
                <a:gd name="adj2" fmla="val 38153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1" name="AutoShape 5"/>
            <p:cNvSpPr>
              <a:spLocks noChangeArrowheads="1"/>
            </p:cNvSpPr>
            <p:nvPr/>
          </p:nvSpPr>
          <p:spPr bwMode="auto">
            <a:xfrm>
              <a:off x="2410" y="1253"/>
              <a:ext cx="969" cy="325"/>
            </a:xfrm>
            <a:prstGeom prst="rightArrow">
              <a:avLst>
                <a:gd name="adj1" fmla="val 56361"/>
                <a:gd name="adj2" fmla="val 38153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2" name="Text Box 6"/>
            <p:cNvSpPr txBox="1">
              <a:spLocks noChangeArrowheads="1"/>
            </p:cNvSpPr>
            <p:nvPr/>
          </p:nvSpPr>
          <p:spPr bwMode="auto">
            <a:xfrm>
              <a:off x="465" y="1358"/>
              <a:ext cx="873" cy="106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400" kern="0" dirty="0" smtClean="0">
                  <a:solidFill>
                    <a:srgbClr val="FFFFFF"/>
                  </a:solidFill>
                </a:rPr>
                <a:t>2016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年</a:t>
              </a:r>
              <a:r>
                <a:rPr kumimoji="1" lang="en-US" altLang="zh-CN" sz="1400" kern="0" dirty="0">
                  <a:solidFill>
                    <a:srgbClr val="FFFFFF"/>
                  </a:solidFill>
                </a:rPr>
                <a:t>1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月</a:t>
              </a:r>
              <a:endParaRPr kumimoji="1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1455" y="1358"/>
              <a:ext cx="874" cy="106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400" kern="0" dirty="0" smtClean="0">
                  <a:solidFill>
                    <a:srgbClr val="FFFFFF"/>
                  </a:solidFill>
                </a:rPr>
                <a:t>2016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年</a:t>
              </a:r>
              <a:r>
                <a:rPr kumimoji="1" lang="en-US" altLang="zh-CN" sz="1400" kern="0" dirty="0">
                  <a:solidFill>
                    <a:srgbClr val="FFFFFF"/>
                  </a:solidFill>
                </a:rPr>
                <a:t>2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月</a:t>
              </a:r>
              <a:endParaRPr kumimoji="1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" name="Text Box 8"/>
            <p:cNvSpPr txBox="1">
              <a:spLocks noChangeArrowheads="1"/>
            </p:cNvSpPr>
            <p:nvPr/>
          </p:nvSpPr>
          <p:spPr bwMode="auto">
            <a:xfrm>
              <a:off x="2431" y="1358"/>
              <a:ext cx="874" cy="106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400" kern="0" dirty="0" smtClean="0">
                  <a:solidFill>
                    <a:srgbClr val="FFFFFF"/>
                  </a:solidFill>
                </a:rPr>
                <a:t>2016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年</a:t>
              </a:r>
              <a:r>
                <a:rPr kumimoji="1" lang="en-US" altLang="zh-CN" sz="1400" kern="0" dirty="0">
                  <a:solidFill>
                    <a:srgbClr val="FFFFFF"/>
                  </a:solidFill>
                </a:rPr>
                <a:t>3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月</a:t>
              </a:r>
              <a:endParaRPr kumimoji="1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5" name="Text12"/>
            <p:cNvSpPr>
              <a:spLocks noChangeArrowheads="1"/>
            </p:cNvSpPr>
            <p:nvPr/>
          </p:nvSpPr>
          <p:spPr bwMode="auto">
            <a:xfrm>
              <a:off x="430" y="1690"/>
              <a:ext cx="817" cy="769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>
              <a:lvl1pPr marL="342900" indent="-342900" defTabSz="330200"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168275" indent="-166688" defTabSz="33020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3302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3302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3302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endParaRPr lang="en-US" altLang="zh-CN" kern="0" dirty="0" smtClean="0">
                <a:solidFill>
                  <a:schemeClr val="bg1"/>
                </a:solidFill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</a:rPr>
                <a:t>收集</a:t>
              </a:r>
              <a:r>
                <a:rPr lang="zh-CN" altLang="en-US" kern="0" dirty="0">
                  <a:solidFill>
                    <a:schemeClr val="bg1"/>
                  </a:solidFill>
                </a:rPr>
                <a:t>资料</a:t>
              </a:r>
              <a:r>
                <a:rPr lang="en-US" altLang="zh-CN" kern="0" dirty="0" smtClean="0">
                  <a:solidFill>
                    <a:schemeClr val="bg1"/>
                  </a:solidFill>
                </a:rPr>
                <a:t>;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kern="0" dirty="0" smtClean="0">
                <a:solidFill>
                  <a:schemeClr val="bg1"/>
                </a:solidFill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</a:rPr>
                <a:t>目标</a:t>
              </a:r>
              <a:r>
                <a:rPr lang="zh-CN" altLang="en-US" kern="0" dirty="0">
                  <a:solidFill>
                    <a:schemeClr val="bg1"/>
                  </a:solidFill>
                </a:rPr>
                <a:t>确认</a:t>
              </a:r>
              <a:r>
                <a:rPr lang="en-US" altLang="zh-CN" kern="0" dirty="0" smtClean="0">
                  <a:solidFill>
                    <a:schemeClr val="bg1"/>
                  </a:solidFill>
                </a:rPr>
                <a:t>;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kern="0" dirty="0" smtClean="0">
                <a:solidFill>
                  <a:schemeClr val="bg1"/>
                </a:solidFill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</a:rPr>
                <a:t>计划实施</a:t>
              </a:r>
              <a:r>
                <a:rPr lang="en-US" altLang="zh-CN" kern="0" dirty="0" smtClean="0">
                  <a:solidFill>
                    <a:schemeClr val="bg1"/>
                  </a:solidFill>
                </a:rPr>
                <a:t>:</a:t>
              </a:r>
              <a:endParaRPr kumimoji="0" lang="zh-CN" altLang="en-US" sz="17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6" name="Line 10"/>
            <p:cNvSpPr>
              <a:spLocks noChangeShapeType="1"/>
            </p:cNvSpPr>
            <p:nvPr/>
          </p:nvSpPr>
          <p:spPr bwMode="auto">
            <a:xfrm flipH="1">
              <a:off x="1273" y="1672"/>
              <a:ext cx="0" cy="1169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7" name="AutoShape 11"/>
            <p:cNvSpPr>
              <a:spLocks noChangeArrowheads="1"/>
            </p:cNvSpPr>
            <p:nvPr/>
          </p:nvSpPr>
          <p:spPr bwMode="auto">
            <a:xfrm>
              <a:off x="3425" y="1253"/>
              <a:ext cx="969" cy="325"/>
            </a:xfrm>
            <a:prstGeom prst="rightArrow">
              <a:avLst>
                <a:gd name="adj1" fmla="val 56361"/>
                <a:gd name="adj2" fmla="val 38153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8" name="Text Box 13"/>
            <p:cNvSpPr txBox="1">
              <a:spLocks noChangeArrowheads="1"/>
            </p:cNvSpPr>
            <p:nvPr/>
          </p:nvSpPr>
          <p:spPr bwMode="auto">
            <a:xfrm>
              <a:off x="3451" y="1358"/>
              <a:ext cx="874" cy="106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400" kern="0" dirty="0" smtClean="0">
                  <a:solidFill>
                    <a:srgbClr val="FFFFFF"/>
                  </a:solidFill>
                </a:rPr>
                <a:t>2016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年</a:t>
              </a:r>
              <a:r>
                <a:rPr kumimoji="1" lang="en-US" altLang="zh-CN" sz="1400" kern="0" dirty="0">
                  <a:solidFill>
                    <a:srgbClr val="FFFFFF"/>
                  </a:solidFill>
                </a:rPr>
                <a:t>4</a:t>
              </a:r>
              <a:r>
                <a:rPr kumimoji="1" lang="zh-CN" altLang="en-US" sz="1400" kern="0" dirty="0" smtClean="0">
                  <a:solidFill>
                    <a:srgbClr val="FFFFFF"/>
                  </a:solidFill>
                </a:rPr>
                <a:t>月</a:t>
              </a:r>
              <a:endParaRPr kumimoji="1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9" name="Text12"/>
            <p:cNvSpPr>
              <a:spLocks noChangeArrowheads="1"/>
            </p:cNvSpPr>
            <p:nvPr/>
          </p:nvSpPr>
          <p:spPr bwMode="auto">
            <a:xfrm>
              <a:off x="1338" y="1706"/>
              <a:ext cx="862" cy="264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>
              <a:lvl1pPr marL="342900" indent="-342900" defTabSz="330200"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168275" indent="-166688" defTabSz="33020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3302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3302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3302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endParaRPr lang="en-US" altLang="zh-CN" kern="0" dirty="0" smtClean="0">
                <a:solidFill>
                  <a:schemeClr val="bg1"/>
                </a:solidFill>
                <a:latin typeface="宋体" panose="02010600030101010101" pitchFamily="2" charset="-122"/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  <a:latin typeface="宋体" panose="02010600030101010101" pitchFamily="2" charset="-122"/>
                </a:rPr>
                <a:t>执行</a:t>
              </a:r>
              <a:r>
                <a:rPr lang="zh-CN" altLang="en-US" sz="1800" kern="0" dirty="0">
                  <a:solidFill>
                    <a:schemeClr val="bg1"/>
                  </a:solidFill>
                  <a:latin typeface="宋体" panose="02010600030101010101" pitchFamily="2" charset="-122"/>
                </a:rPr>
                <a:t>措施</a:t>
              </a:r>
              <a:endPara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宋体" panose="02010600030101010101" pitchFamily="2" charset="-122"/>
              </a:endParaRPr>
            </a:p>
          </p:txBody>
        </p:sp>
        <p:sp>
          <p:nvSpPr>
            <p:cNvPr id="30" name="Line 16"/>
            <p:cNvSpPr>
              <a:spLocks noChangeShapeType="1"/>
            </p:cNvSpPr>
            <p:nvPr/>
          </p:nvSpPr>
          <p:spPr bwMode="auto">
            <a:xfrm flipH="1">
              <a:off x="2286" y="1672"/>
              <a:ext cx="0" cy="1159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31" name="Text12"/>
            <p:cNvSpPr>
              <a:spLocks noChangeArrowheads="1"/>
            </p:cNvSpPr>
            <p:nvPr/>
          </p:nvSpPr>
          <p:spPr bwMode="auto">
            <a:xfrm>
              <a:off x="2290" y="1680"/>
              <a:ext cx="899" cy="256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>
              <a:lvl1pPr marL="342900" indent="-342900" defTabSz="330200"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168275" indent="-166688" defTabSz="33020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3302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3302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3302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endParaRPr lang="en-US" altLang="zh-CN" kern="0" dirty="0" smtClean="0">
                <a:solidFill>
                  <a:schemeClr val="bg1"/>
                </a:solidFill>
                <a:latin typeface="宋体" panose="02010600030101010101" pitchFamily="2" charset="-122"/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  <a:latin typeface="宋体" panose="02010600030101010101" pitchFamily="2" charset="-122"/>
                </a:rPr>
                <a:t>检查</a:t>
              </a:r>
              <a:r>
                <a:rPr lang="zh-CN" altLang="en-US" kern="0" dirty="0">
                  <a:solidFill>
                    <a:schemeClr val="bg1"/>
                  </a:solidFill>
                  <a:latin typeface="宋体" panose="02010600030101010101" pitchFamily="2" charset="-122"/>
                </a:rPr>
                <a:t>执行结果</a:t>
              </a:r>
            </a:p>
          </p:txBody>
        </p:sp>
        <p:sp>
          <p:nvSpPr>
            <p:cNvPr id="32" name="Line 18"/>
            <p:cNvSpPr>
              <a:spLocks noChangeShapeType="1"/>
            </p:cNvSpPr>
            <p:nvPr/>
          </p:nvSpPr>
          <p:spPr bwMode="auto">
            <a:xfrm flipH="1">
              <a:off x="3247" y="1662"/>
              <a:ext cx="0" cy="1169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33" name="Text12"/>
            <p:cNvSpPr>
              <a:spLocks noChangeArrowheads="1"/>
            </p:cNvSpPr>
            <p:nvPr/>
          </p:nvSpPr>
          <p:spPr bwMode="auto">
            <a:xfrm>
              <a:off x="3334" y="1706"/>
              <a:ext cx="861" cy="648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>
              <a:lvl1pPr marL="342900" indent="-342900" defTabSz="330200"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168275" indent="-166688" defTabSz="330200">
                <a:buChar char="•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330200">
                <a:buChar char="–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330200">
                <a:buChar char="-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330200">
                <a:spcBef>
                  <a:spcPct val="20000"/>
                </a:spcBef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700" b="1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endParaRPr lang="en-US" altLang="zh-CN" kern="0" dirty="0" smtClean="0">
                <a:solidFill>
                  <a:schemeClr val="bg1"/>
                </a:solidFill>
                <a:latin typeface="宋体" panose="02010600030101010101" pitchFamily="2" charset="-122"/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  <a:latin typeface="宋体" panose="02010600030101010101" pitchFamily="2" charset="-122"/>
                </a:rPr>
                <a:t>总结经验</a:t>
              </a:r>
              <a:r>
                <a:rPr lang="en-US" altLang="zh-CN" kern="0" dirty="0" smtClean="0">
                  <a:solidFill>
                    <a:schemeClr val="bg1"/>
                  </a:solidFill>
                  <a:latin typeface="宋体" panose="02010600030101010101" pitchFamily="2" charset="-122"/>
                </a:rPr>
                <a:t>;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endParaRPr lang="en-US" altLang="zh-CN" kern="0" dirty="0" smtClean="0">
                <a:solidFill>
                  <a:schemeClr val="bg1"/>
                </a:solidFill>
                <a:latin typeface="宋体" panose="02010600030101010101" pitchFamily="2" charset="-122"/>
              </a:endParaRP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Ø"/>
              </a:pPr>
              <a:r>
                <a:rPr lang="zh-CN" altLang="en-US" kern="0" dirty="0" smtClean="0">
                  <a:solidFill>
                    <a:schemeClr val="bg1"/>
                  </a:solidFill>
                  <a:latin typeface="宋体" panose="02010600030101010101" pitchFamily="2" charset="-122"/>
                </a:rPr>
                <a:t>修订目标</a:t>
              </a:r>
              <a:r>
                <a:rPr lang="en-US" altLang="zh-CN" kern="0" dirty="0" smtClean="0">
                  <a:solidFill>
                    <a:schemeClr val="bg1"/>
                  </a:solidFill>
                  <a:latin typeface="宋体" panose="02010600030101010101" pitchFamily="2" charset="-122"/>
                </a:rPr>
                <a:t>: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800" kern="0" dirty="0">
                <a:solidFill>
                  <a:schemeClr val="bg1"/>
                </a:solidFill>
                <a:latin typeface="宋体" panose="02010600030101010101" pitchFamily="2" charset="-122"/>
              </a:endParaRPr>
            </a:p>
          </p:txBody>
        </p:sp>
        <p:sp>
          <p:nvSpPr>
            <p:cNvPr id="34" name="Line 20"/>
            <p:cNvSpPr>
              <a:spLocks noChangeShapeType="1"/>
            </p:cNvSpPr>
            <p:nvPr/>
          </p:nvSpPr>
          <p:spPr bwMode="auto">
            <a:xfrm flipH="1">
              <a:off x="4263" y="1662"/>
              <a:ext cx="0" cy="1169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cxnSp>
        <p:nvCxnSpPr>
          <p:cNvPr id="35" name="直接连接符 34"/>
          <p:cNvCxnSpPr>
            <a:endCxn id="26" idx="0"/>
          </p:cNvCxnSpPr>
          <p:nvPr/>
        </p:nvCxnSpPr>
        <p:spPr>
          <a:xfrm>
            <a:off x="683568" y="2708920"/>
            <a:ext cx="1658489" cy="3456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>
            <a:off x="2627784" y="2708920"/>
            <a:ext cx="172819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4499992" y="2708920"/>
            <a:ext cx="172819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>
            <a:off x="6516216" y="2708920"/>
            <a:ext cx="172819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169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6"/>
          <p:cNvSpPr/>
          <p:nvPr/>
        </p:nvSpPr>
        <p:spPr bwMode="auto">
          <a:xfrm>
            <a:off x="187597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3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67"/>
          <p:cNvSpPr/>
          <p:nvPr/>
        </p:nvSpPr>
        <p:spPr bwMode="auto">
          <a:xfrm>
            <a:off x="716177" y="18864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b="1" kern="0" dirty="0">
                <a:solidFill>
                  <a:schemeClr val="bg1"/>
                </a:solidFill>
              </a:rPr>
              <a:t>项目</a:t>
            </a:r>
            <a:r>
              <a:rPr lang="zh-CN" altLang="en-US" b="1" kern="0" dirty="0" smtClean="0">
                <a:solidFill>
                  <a:schemeClr val="bg1"/>
                </a:solidFill>
              </a:rPr>
              <a:t>目标</a:t>
            </a: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。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sp>
        <p:nvSpPr>
          <p:cNvPr id="2" name="文本框 1"/>
          <p:cNvSpPr txBox="1"/>
          <p:nvPr/>
        </p:nvSpPr>
        <p:spPr bwMode="auto">
          <a:xfrm>
            <a:off x="755576" y="1268760"/>
            <a:ext cx="7200800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b="1" kern="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计划准确性</a:t>
            </a:r>
            <a:r>
              <a:rPr lang="en-US" altLang="zh-CN" sz="1400" b="1" kern="0" dirty="0" smtClean="0">
                <a:solidFill>
                  <a:schemeClr val="bg1"/>
                </a:solidFill>
              </a:rPr>
              <a:t>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b="1" kern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计划应变能力</a:t>
            </a: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b="1" kern="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kern="0" dirty="0" smtClean="0">
                <a:solidFill>
                  <a:schemeClr val="bg1"/>
                </a:solidFill>
              </a:rPr>
              <a:t>工作效率</a:t>
            </a:r>
            <a:r>
              <a:rPr lang="en-US" altLang="zh-CN" sz="1400" b="1" kern="0" dirty="0" smtClean="0">
                <a:solidFill>
                  <a:schemeClr val="bg1"/>
                </a:solidFill>
              </a:rPr>
              <a:t>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b="1" kern="0" dirty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b="1" kern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kern="0" dirty="0" smtClean="0">
                <a:solidFill>
                  <a:schemeClr val="bg1"/>
                </a:solidFill>
              </a:rPr>
              <a:t>信息的透明化</a:t>
            </a:r>
            <a:r>
              <a:rPr lang="en-US" altLang="zh-CN" sz="1400" b="1" kern="0" dirty="0" smtClean="0">
                <a:solidFill>
                  <a:schemeClr val="bg1"/>
                </a:solidFill>
              </a:rPr>
              <a:t>   </a:t>
            </a:r>
            <a:endParaRPr lang="en-US" altLang="zh-CN" sz="14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951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6"/>
          <p:cNvSpPr/>
          <p:nvPr/>
        </p:nvSpPr>
        <p:spPr bwMode="auto">
          <a:xfrm>
            <a:off x="187597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4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67"/>
          <p:cNvSpPr/>
          <p:nvPr/>
        </p:nvSpPr>
        <p:spPr bwMode="auto">
          <a:xfrm>
            <a:off x="716177" y="18864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自动排产模式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4067944" y="2636912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排产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7" name="矩形 6"/>
          <p:cNvSpPr/>
          <p:nvPr/>
        </p:nvSpPr>
        <p:spPr bwMode="gray">
          <a:xfrm>
            <a:off x="4059544" y="4215570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报工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9" name="矩形 8"/>
          <p:cNvSpPr/>
          <p:nvPr/>
        </p:nvSpPr>
        <p:spPr bwMode="gray">
          <a:xfrm>
            <a:off x="1475656" y="3416342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0" name="矩形 9"/>
          <p:cNvSpPr/>
          <p:nvPr/>
        </p:nvSpPr>
        <p:spPr bwMode="gray">
          <a:xfrm>
            <a:off x="3203848" y="3416342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1" name="矩形 10"/>
          <p:cNvSpPr/>
          <p:nvPr/>
        </p:nvSpPr>
        <p:spPr bwMode="gray">
          <a:xfrm>
            <a:off x="5004048" y="3416342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" name="矩形 11"/>
          <p:cNvSpPr/>
          <p:nvPr/>
        </p:nvSpPr>
        <p:spPr bwMode="gray">
          <a:xfrm>
            <a:off x="6876256" y="3416342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3" name="矩形 12"/>
          <p:cNvSpPr/>
          <p:nvPr/>
        </p:nvSpPr>
        <p:spPr bwMode="gray">
          <a:xfrm>
            <a:off x="1475656" y="5040934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</a:p>
        </p:txBody>
      </p:sp>
      <p:sp>
        <p:nvSpPr>
          <p:cNvPr id="14" name="矩形 13"/>
          <p:cNvSpPr/>
          <p:nvPr/>
        </p:nvSpPr>
        <p:spPr bwMode="gray">
          <a:xfrm>
            <a:off x="3203848" y="5040934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</a:p>
        </p:txBody>
      </p:sp>
      <p:sp>
        <p:nvSpPr>
          <p:cNvPr id="15" name="矩形 14"/>
          <p:cNvSpPr/>
          <p:nvPr/>
        </p:nvSpPr>
        <p:spPr bwMode="gray">
          <a:xfrm>
            <a:off x="5004048" y="5040934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</a:p>
        </p:txBody>
      </p:sp>
      <p:sp>
        <p:nvSpPr>
          <p:cNvPr id="16" name="矩形 15"/>
          <p:cNvSpPr/>
          <p:nvPr/>
        </p:nvSpPr>
        <p:spPr bwMode="gray">
          <a:xfrm>
            <a:off x="6876256" y="5040934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</a:p>
        </p:txBody>
      </p:sp>
      <p:cxnSp>
        <p:nvCxnSpPr>
          <p:cNvPr id="17" name="直接箭头连接符 16"/>
          <p:cNvCxnSpPr>
            <a:stCxn id="6" idx="2"/>
            <a:endCxn id="9" idx="0"/>
          </p:cNvCxnSpPr>
          <p:nvPr/>
        </p:nvCxnSpPr>
        <p:spPr>
          <a:xfrm flipH="1">
            <a:off x="1979712" y="3212976"/>
            <a:ext cx="2592288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6" idx="2"/>
            <a:endCxn id="10" idx="0"/>
          </p:cNvCxnSpPr>
          <p:nvPr/>
        </p:nvCxnSpPr>
        <p:spPr>
          <a:xfrm flipH="1">
            <a:off x="3707904" y="3212976"/>
            <a:ext cx="864096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>
            <a:stCxn id="6" idx="2"/>
            <a:endCxn id="11" idx="0"/>
          </p:cNvCxnSpPr>
          <p:nvPr/>
        </p:nvCxnSpPr>
        <p:spPr>
          <a:xfrm>
            <a:off x="4572000" y="3212976"/>
            <a:ext cx="936104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>
            <a:stCxn id="6" idx="2"/>
            <a:endCxn id="12" idx="0"/>
          </p:cNvCxnSpPr>
          <p:nvPr/>
        </p:nvCxnSpPr>
        <p:spPr>
          <a:xfrm>
            <a:off x="4572000" y="3212976"/>
            <a:ext cx="2808312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>
            <a:stCxn id="7" idx="2"/>
            <a:endCxn id="13" idx="0"/>
          </p:cNvCxnSpPr>
          <p:nvPr/>
        </p:nvCxnSpPr>
        <p:spPr>
          <a:xfrm flipH="1">
            <a:off x="1979712" y="4791634"/>
            <a:ext cx="2583888" cy="249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>
            <a:stCxn id="7" idx="2"/>
            <a:endCxn id="14" idx="0"/>
          </p:cNvCxnSpPr>
          <p:nvPr/>
        </p:nvCxnSpPr>
        <p:spPr>
          <a:xfrm flipH="1">
            <a:off x="3707904" y="4791634"/>
            <a:ext cx="855696" cy="249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>
            <a:stCxn id="7" idx="2"/>
            <a:endCxn id="15" idx="0"/>
          </p:cNvCxnSpPr>
          <p:nvPr/>
        </p:nvCxnSpPr>
        <p:spPr>
          <a:xfrm>
            <a:off x="4563600" y="4791634"/>
            <a:ext cx="944504" cy="249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>
            <a:stCxn id="7" idx="2"/>
            <a:endCxn id="16" idx="0"/>
          </p:cNvCxnSpPr>
          <p:nvPr/>
        </p:nvCxnSpPr>
        <p:spPr>
          <a:xfrm>
            <a:off x="4563600" y="4791634"/>
            <a:ext cx="2816712" cy="2493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矩形 36"/>
          <p:cNvSpPr/>
          <p:nvPr/>
        </p:nvSpPr>
        <p:spPr bwMode="gray">
          <a:xfrm>
            <a:off x="2392806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展开</a:t>
            </a:r>
            <a:endParaRPr lang="en-US" altLang="zh-CN" sz="18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38" name="矩形 37"/>
          <p:cNvSpPr/>
          <p:nvPr/>
        </p:nvSpPr>
        <p:spPr bwMode="gray">
          <a:xfrm>
            <a:off x="736622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主数据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4" name="矩形 43"/>
          <p:cNvSpPr/>
          <p:nvPr/>
        </p:nvSpPr>
        <p:spPr bwMode="gray">
          <a:xfrm>
            <a:off x="5765052" y="1340768"/>
            <a:ext cx="1008112" cy="576064"/>
          </a:xfrm>
          <a:prstGeom prst="rect">
            <a:avLst/>
          </a:prstGeom>
          <a:solidFill>
            <a:srgbClr val="FFFF00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排</a:t>
            </a:r>
            <a:r>
              <a:rPr lang="zh-CN" alt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产总预览</a:t>
            </a:r>
            <a:endParaRPr lang="zh-CN" alt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5" name="矩形 44"/>
          <p:cNvSpPr/>
          <p:nvPr/>
        </p:nvSpPr>
        <p:spPr bwMode="gray">
          <a:xfrm>
            <a:off x="7421236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完工总预览</a:t>
            </a:r>
            <a:endParaRPr lang="zh-CN" alt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6" name="右箭头 45"/>
          <p:cNvSpPr/>
          <p:nvPr/>
        </p:nvSpPr>
        <p:spPr bwMode="gray">
          <a:xfrm>
            <a:off x="1888750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47" name="右箭头 46"/>
          <p:cNvSpPr/>
          <p:nvPr/>
        </p:nvSpPr>
        <p:spPr bwMode="gray">
          <a:xfrm>
            <a:off x="3544934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48" name="右箭头 47"/>
          <p:cNvSpPr/>
          <p:nvPr/>
        </p:nvSpPr>
        <p:spPr bwMode="gray">
          <a:xfrm>
            <a:off x="6917180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cxnSp>
        <p:nvCxnSpPr>
          <p:cNvPr id="49" name="直接箭头连接符 48"/>
          <p:cNvCxnSpPr>
            <a:stCxn id="38" idx="2"/>
          </p:cNvCxnSpPr>
          <p:nvPr/>
        </p:nvCxnSpPr>
        <p:spPr>
          <a:xfrm flipH="1">
            <a:off x="556602" y="1916832"/>
            <a:ext cx="684076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直接箭头连接符 49"/>
          <p:cNvCxnSpPr>
            <a:stCxn id="38" idx="2"/>
          </p:cNvCxnSpPr>
          <p:nvPr/>
        </p:nvCxnSpPr>
        <p:spPr>
          <a:xfrm>
            <a:off x="1240678" y="1916832"/>
            <a:ext cx="108012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直接箭头连接符 50"/>
          <p:cNvCxnSpPr>
            <a:stCxn id="38" idx="2"/>
          </p:cNvCxnSpPr>
          <p:nvPr/>
        </p:nvCxnSpPr>
        <p:spPr>
          <a:xfrm>
            <a:off x="1240678" y="1916832"/>
            <a:ext cx="90010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矩形 51"/>
          <p:cNvSpPr/>
          <p:nvPr/>
        </p:nvSpPr>
        <p:spPr bwMode="gray">
          <a:xfrm>
            <a:off x="4077322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单输入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3" name="右箭头 52"/>
          <p:cNvSpPr/>
          <p:nvPr/>
        </p:nvSpPr>
        <p:spPr bwMode="gray">
          <a:xfrm>
            <a:off x="5248206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54" name="矩形 53"/>
          <p:cNvSpPr/>
          <p:nvPr/>
        </p:nvSpPr>
        <p:spPr bwMode="gray">
          <a:xfrm>
            <a:off x="317100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5" name="矩形 54"/>
          <p:cNvSpPr/>
          <p:nvPr/>
        </p:nvSpPr>
        <p:spPr bwMode="gray">
          <a:xfrm>
            <a:off x="1109188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ROUTING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6" name="矩形 55"/>
          <p:cNvSpPr/>
          <p:nvPr/>
        </p:nvSpPr>
        <p:spPr bwMode="gray">
          <a:xfrm>
            <a:off x="1901276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计划框架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1470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6"/>
          <p:cNvSpPr/>
          <p:nvPr/>
        </p:nvSpPr>
        <p:spPr bwMode="auto">
          <a:xfrm>
            <a:off x="187597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4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67"/>
          <p:cNvSpPr/>
          <p:nvPr/>
        </p:nvSpPr>
        <p:spPr bwMode="auto">
          <a:xfrm>
            <a:off x="716177" y="18864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自动排产模式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sp>
        <p:nvSpPr>
          <p:cNvPr id="2" name="矩形 1"/>
          <p:cNvSpPr/>
          <p:nvPr/>
        </p:nvSpPr>
        <p:spPr bwMode="gray">
          <a:xfrm>
            <a:off x="2392806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展开</a:t>
            </a:r>
            <a:endParaRPr lang="en-US" altLang="zh-CN" sz="18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4067944" y="3464686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排产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8" name="矩形 7"/>
          <p:cNvSpPr/>
          <p:nvPr/>
        </p:nvSpPr>
        <p:spPr bwMode="gray">
          <a:xfrm>
            <a:off x="736622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主数据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9" name="矩形 8"/>
          <p:cNvSpPr/>
          <p:nvPr/>
        </p:nvSpPr>
        <p:spPr bwMode="gray">
          <a:xfrm>
            <a:off x="1475656" y="4244116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0" name="矩形 9"/>
          <p:cNvSpPr/>
          <p:nvPr/>
        </p:nvSpPr>
        <p:spPr bwMode="gray">
          <a:xfrm>
            <a:off x="3203848" y="4244116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1" name="矩形 10"/>
          <p:cNvSpPr/>
          <p:nvPr/>
        </p:nvSpPr>
        <p:spPr bwMode="gray">
          <a:xfrm>
            <a:off x="5004048" y="4244116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" name="矩形 11"/>
          <p:cNvSpPr/>
          <p:nvPr/>
        </p:nvSpPr>
        <p:spPr bwMode="gray">
          <a:xfrm>
            <a:off x="6876256" y="4244116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17" name="直接箭头连接符 16"/>
          <p:cNvCxnSpPr>
            <a:stCxn id="6" idx="2"/>
            <a:endCxn id="9" idx="0"/>
          </p:cNvCxnSpPr>
          <p:nvPr/>
        </p:nvCxnSpPr>
        <p:spPr>
          <a:xfrm flipH="1">
            <a:off x="1979712" y="4040750"/>
            <a:ext cx="2592288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6" idx="2"/>
            <a:endCxn id="10" idx="0"/>
          </p:cNvCxnSpPr>
          <p:nvPr/>
        </p:nvCxnSpPr>
        <p:spPr>
          <a:xfrm flipH="1">
            <a:off x="3707904" y="4040750"/>
            <a:ext cx="864096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>
            <a:stCxn id="6" idx="2"/>
            <a:endCxn id="11" idx="0"/>
          </p:cNvCxnSpPr>
          <p:nvPr/>
        </p:nvCxnSpPr>
        <p:spPr>
          <a:xfrm>
            <a:off x="4572000" y="4040750"/>
            <a:ext cx="936104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>
            <a:stCxn id="6" idx="2"/>
            <a:endCxn id="12" idx="0"/>
          </p:cNvCxnSpPr>
          <p:nvPr/>
        </p:nvCxnSpPr>
        <p:spPr>
          <a:xfrm>
            <a:off x="4572000" y="4040750"/>
            <a:ext cx="2808312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矩形 38"/>
          <p:cNvSpPr/>
          <p:nvPr/>
        </p:nvSpPr>
        <p:spPr bwMode="gray">
          <a:xfrm>
            <a:off x="5765052" y="1340768"/>
            <a:ext cx="1008112" cy="576064"/>
          </a:xfrm>
          <a:prstGeom prst="rect">
            <a:avLst/>
          </a:prstGeom>
          <a:solidFill>
            <a:srgbClr val="FFFF00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排</a:t>
            </a:r>
            <a:r>
              <a:rPr lang="zh-CN" alt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产总预览</a:t>
            </a:r>
            <a:endParaRPr lang="zh-CN" alt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0" name="矩形 39"/>
          <p:cNvSpPr/>
          <p:nvPr/>
        </p:nvSpPr>
        <p:spPr bwMode="gray">
          <a:xfrm>
            <a:off x="7421236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完工总预览</a:t>
            </a:r>
            <a:endParaRPr lang="zh-CN" alt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1" name="右箭头 40"/>
          <p:cNvSpPr/>
          <p:nvPr/>
        </p:nvSpPr>
        <p:spPr bwMode="gray">
          <a:xfrm>
            <a:off x="1888750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42" name="右箭头 41"/>
          <p:cNvSpPr/>
          <p:nvPr/>
        </p:nvSpPr>
        <p:spPr bwMode="gray">
          <a:xfrm>
            <a:off x="3544934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43" name="右箭头 42"/>
          <p:cNvSpPr/>
          <p:nvPr/>
        </p:nvSpPr>
        <p:spPr bwMode="gray">
          <a:xfrm>
            <a:off x="6917180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30" name="矩形 29"/>
          <p:cNvSpPr/>
          <p:nvPr/>
        </p:nvSpPr>
        <p:spPr bwMode="gray">
          <a:xfrm>
            <a:off x="1053493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32" name="矩形 31"/>
          <p:cNvSpPr/>
          <p:nvPr/>
        </p:nvSpPr>
        <p:spPr bwMode="gray">
          <a:xfrm>
            <a:off x="1655468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33" name="矩形 32"/>
          <p:cNvSpPr/>
          <p:nvPr/>
        </p:nvSpPr>
        <p:spPr bwMode="gray">
          <a:xfrm>
            <a:off x="2249222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20" name="直接箭头连接符 19"/>
          <p:cNvCxnSpPr>
            <a:stCxn id="9" idx="2"/>
            <a:endCxn id="30" idx="0"/>
          </p:cNvCxnSpPr>
          <p:nvPr/>
        </p:nvCxnSpPr>
        <p:spPr>
          <a:xfrm flipH="1">
            <a:off x="1305521" y="4820180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9" idx="2"/>
            <a:endCxn id="32" idx="0"/>
          </p:cNvCxnSpPr>
          <p:nvPr/>
        </p:nvCxnSpPr>
        <p:spPr>
          <a:xfrm flipH="1">
            <a:off x="1907496" y="4820180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箭头连接符 27"/>
          <p:cNvCxnSpPr>
            <a:stCxn id="9" idx="2"/>
            <a:endCxn id="33" idx="0"/>
          </p:cNvCxnSpPr>
          <p:nvPr/>
        </p:nvCxnSpPr>
        <p:spPr>
          <a:xfrm>
            <a:off x="1979712" y="4820180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矩形 43"/>
          <p:cNvSpPr/>
          <p:nvPr/>
        </p:nvSpPr>
        <p:spPr bwMode="gray">
          <a:xfrm>
            <a:off x="2889905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45" name="矩形 44"/>
          <p:cNvSpPr/>
          <p:nvPr/>
        </p:nvSpPr>
        <p:spPr bwMode="gray">
          <a:xfrm>
            <a:off x="3491880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6" name="矩形 45"/>
          <p:cNvSpPr/>
          <p:nvPr/>
        </p:nvSpPr>
        <p:spPr bwMode="gray">
          <a:xfrm>
            <a:off x="4085634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47" name="直接箭头连接符 46"/>
          <p:cNvCxnSpPr>
            <a:endCxn id="44" idx="0"/>
          </p:cNvCxnSpPr>
          <p:nvPr/>
        </p:nvCxnSpPr>
        <p:spPr>
          <a:xfrm flipH="1">
            <a:off x="3141933" y="4820180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箭头连接符 47"/>
          <p:cNvCxnSpPr>
            <a:endCxn id="45" idx="0"/>
          </p:cNvCxnSpPr>
          <p:nvPr/>
        </p:nvCxnSpPr>
        <p:spPr>
          <a:xfrm flipH="1">
            <a:off x="3743908" y="4820180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箭头连接符 48"/>
          <p:cNvCxnSpPr>
            <a:endCxn id="46" idx="0"/>
          </p:cNvCxnSpPr>
          <p:nvPr/>
        </p:nvCxnSpPr>
        <p:spPr>
          <a:xfrm>
            <a:off x="3816124" y="4820180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矩形 49"/>
          <p:cNvSpPr/>
          <p:nvPr/>
        </p:nvSpPr>
        <p:spPr bwMode="gray">
          <a:xfrm>
            <a:off x="4744423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51" name="矩形 50"/>
          <p:cNvSpPr/>
          <p:nvPr/>
        </p:nvSpPr>
        <p:spPr bwMode="gray">
          <a:xfrm>
            <a:off x="5346398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2" name="矩形 51"/>
          <p:cNvSpPr/>
          <p:nvPr/>
        </p:nvSpPr>
        <p:spPr bwMode="gray">
          <a:xfrm>
            <a:off x="5940152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53" name="直接箭头连接符 52"/>
          <p:cNvCxnSpPr>
            <a:endCxn id="50" idx="0"/>
          </p:cNvCxnSpPr>
          <p:nvPr/>
        </p:nvCxnSpPr>
        <p:spPr>
          <a:xfrm flipH="1">
            <a:off x="4996451" y="4820180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箭头连接符 53"/>
          <p:cNvCxnSpPr>
            <a:endCxn id="51" idx="0"/>
          </p:cNvCxnSpPr>
          <p:nvPr/>
        </p:nvCxnSpPr>
        <p:spPr>
          <a:xfrm flipH="1">
            <a:off x="5598426" y="4820180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54"/>
          <p:cNvCxnSpPr>
            <a:endCxn id="52" idx="0"/>
          </p:cNvCxnSpPr>
          <p:nvPr/>
        </p:nvCxnSpPr>
        <p:spPr>
          <a:xfrm>
            <a:off x="5670642" y="4820180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矩形 55"/>
          <p:cNvSpPr/>
          <p:nvPr/>
        </p:nvSpPr>
        <p:spPr bwMode="gray">
          <a:xfrm>
            <a:off x="6616631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57" name="矩形 56"/>
          <p:cNvSpPr/>
          <p:nvPr/>
        </p:nvSpPr>
        <p:spPr bwMode="gray">
          <a:xfrm>
            <a:off x="7218606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8" name="矩形 57"/>
          <p:cNvSpPr/>
          <p:nvPr/>
        </p:nvSpPr>
        <p:spPr bwMode="gray">
          <a:xfrm>
            <a:off x="7812360" y="5264886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59" name="直接箭头连接符 58"/>
          <p:cNvCxnSpPr>
            <a:endCxn id="56" idx="0"/>
          </p:cNvCxnSpPr>
          <p:nvPr/>
        </p:nvCxnSpPr>
        <p:spPr>
          <a:xfrm flipH="1">
            <a:off x="6868659" y="4820180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>
            <a:endCxn id="57" idx="0"/>
          </p:cNvCxnSpPr>
          <p:nvPr/>
        </p:nvCxnSpPr>
        <p:spPr>
          <a:xfrm flipH="1">
            <a:off x="7470634" y="4820180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endCxn id="58" idx="0"/>
          </p:cNvCxnSpPr>
          <p:nvPr/>
        </p:nvCxnSpPr>
        <p:spPr>
          <a:xfrm>
            <a:off x="7542850" y="4820180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>
            <a:stCxn id="8" idx="2"/>
          </p:cNvCxnSpPr>
          <p:nvPr/>
        </p:nvCxnSpPr>
        <p:spPr>
          <a:xfrm flipH="1">
            <a:off x="556602" y="1916832"/>
            <a:ext cx="684076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>
            <a:stCxn id="8" idx="2"/>
          </p:cNvCxnSpPr>
          <p:nvPr/>
        </p:nvCxnSpPr>
        <p:spPr>
          <a:xfrm>
            <a:off x="1240678" y="1916832"/>
            <a:ext cx="108012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8" idx="2"/>
          </p:cNvCxnSpPr>
          <p:nvPr/>
        </p:nvCxnSpPr>
        <p:spPr>
          <a:xfrm>
            <a:off x="1240678" y="1916832"/>
            <a:ext cx="90010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矩形 64"/>
          <p:cNvSpPr/>
          <p:nvPr/>
        </p:nvSpPr>
        <p:spPr bwMode="gray">
          <a:xfrm>
            <a:off x="4067944" y="2492896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展开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31" name="直接箭头连接符 30"/>
          <p:cNvCxnSpPr>
            <a:stCxn id="65" idx="2"/>
            <a:endCxn id="6" idx="0"/>
          </p:cNvCxnSpPr>
          <p:nvPr/>
        </p:nvCxnSpPr>
        <p:spPr>
          <a:xfrm>
            <a:off x="4572000" y="3068960"/>
            <a:ext cx="0" cy="3957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矩形 65"/>
          <p:cNvSpPr/>
          <p:nvPr/>
        </p:nvSpPr>
        <p:spPr bwMode="gray">
          <a:xfrm>
            <a:off x="4077322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单输入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67" name="右箭头 66"/>
          <p:cNvSpPr/>
          <p:nvPr/>
        </p:nvSpPr>
        <p:spPr bwMode="gray">
          <a:xfrm>
            <a:off x="5248206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68" name="矩形 67"/>
          <p:cNvSpPr/>
          <p:nvPr/>
        </p:nvSpPr>
        <p:spPr bwMode="gray">
          <a:xfrm>
            <a:off x="317100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69" name="矩形 68"/>
          <p:cNvSpPr/>
          <p:nvPr/>
        </p:nvSpPr>
        <p:spPr bwMode="gray">
          <a:xfrm>
            <a:off x="1109188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ROUTING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70" name="矩形 69"/>
          <p:cNvSpPr/>
          <p:nvPr/>
        </p:nvSpPr>
        <p:spPr bwMode="gray">
          <a:xfrm>
            <a:off x="1901276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计划框架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36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6"/>
          <p:cNvSpPr/>
          <p:nvPr/>
        </p:nvSpPr>
        <p:spPr bwMode="auto">
          <a:xfrm>
            <a:off x="187597" y="188640"/>
            <a:ext cx="528578" cy="720000"/>
          </a:xfrm>
          <a:prstGeom prst="rect">
            <a:avLst/>
          </a:prstGeom>
          <a:solidFill>
            <a:srgbClr val="3397D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2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4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67"/>
          <p:cNvSpPr/>
          <p:nvPr/>
        </p:nvSpPr>
        <p:spPr bwMode="auto">
          <a:xfrm>
            <a:off x="716177" y="188640"/>
            <a:ext cx="6808151" cy="720000"/>
          </a:xfrm>
          <a:prstGeom prst="rect">
            <a:avLst/>
          </a:prstGeom>
          <a:solidFill>
            <a:srgbClr val="80BEE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2" tIns="45716" rIns="91432" bIns="914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kern="0" dirty="0" smtClean="0">
                <a:solidFill>
                  <a:schemeClr val="bg1">
                    <a:alpha val="99000"/>
                  </a:schemeClr>
                </a:solidFill>
                <a:latin typeface="Segoe UI"/>
              </a:rPr>
              <a:t>自动排产模式</a:t>
            </a:r>
            <a:endParaRPr lang="zh-CN" altLang="en-US" b="1" kern="0" dirty="0">
              <a:solidFill>
                <a:schemeClr val="bg1">
                  <a:alpha val="99000"/>
                </a:schemeClr>
              </a:solidFill>
              <a:latin typeface="Segoe UI"/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3930158" y="2925010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报工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9" name="矩形 8"/>
          <p:cNvSpPr/>
          <p:nvPr/>
        </p:nvSpPr>
        <p:spPr bwMode="gray">
          <a:xfrm>
            <a:off x="1337870" y="3704440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0" name="矩形 9"/>
          <p:cNvSpPr/>
          <p:nvPr/>
        </p:nvSpPr>
        <p:spPr bwMode="gray">
          <a:xfrm>
            <a:off x="3066062" y="3704440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1" name="矩形 10"/>
          <p:cNvSpPr/>
          <p:nvPr/>
        </p:nvSpPr>
        <p:spPr bwMode="gray">
          <a:xfrm>
            <a:off x="4866262" y="3704440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" name="矩形 11"/>
          <p:cNvSpPr/>
          <p:nvPr/>
        </p:nvSpPr>
        <p:spPr bwMode="gray">
          <a:xfrm>
            <a:off x="6738470" y="3704440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>
              <a:buClr>
                <a:schemeClr val="tx1"/>
              </a:buClr>
            </a:pPr>
            <a:r>
              <a:rPr lang="zh-CN" altLang="en-US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作中心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17" name="直接箭头连接符 16"/>
          <p:cNvCxnSpPr>
            <a:stCxn id="6" idx="2"/>
            <a:endCxn id="9" idx="0"/>
          </p:cNvCxnSpPr>
          <p:nvPr/>
        </p:nvCxnSpPr>
        <p:spPr>
          <a:xfrm flipH="1">
            <a:off x="1841926" y="3501074"/>
            <a:ext cx="2592288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6" idx="2"/>
            <a:endCxn id="10" idx="0"/>
          </p:cNvCxnSpPr>
          <p:nvPr/>
        </p:nvCxnSpPr>
        <p:spPr>
          <a:xfrm flipH="1">
            <a:off x="3570118" y="3501074"/>
            <a:ext cx="864096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>
            <a:stCxn id="6" idx="2"/>
            <a:endCxn id="11" idx="0"/>
          </p:cNvCxnSpPr>
          <p:nvPr/>
        </p:nvCxnSpPr>
        <p:spPr>
          <a:xfrm>
            <a:off x="4434214" y="3501074"/>
            <a:ext cx="936104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>
            <a:stCxn id="6" idx="2"/>
            <a:endCxn id="12" idx="0"/>
          </p:cNvCxnSpPr>
          <p:nvPr/>
        </p:nvCxnSpPr>
        <p:spPr>
          <a:xfrm>
            <a:off x="4434214" y="3501074"/>
            <a:ext cx="2808312" cy="203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 bwMode="gray">
          <a:xfrm>
            <a:off x="915707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32" name="矩形 31"/>
          <p:cNvSpPr/>
          <p:nvPr/>
        </p:nvSpPr>
        <p:spPr bwMode="gray">
          <a:xfrm>
            <a:off x="1517682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33" name="矩形 32"/>
          <p:cNvSpPr/>
          <p:nvPr/>
        </p:nvSpPr>
        <p:spPr bwMode="gray">
          <a:xfrm>
            <a:off x="2111436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20" name="直接箭头连接符 19"/>
          <p:cNvCxnSpPr>
            <a:stCxn id="9" idx="2"/>
            <a:endCxn id="30" idx="0"/>
          </p:cNvCxnSpPr>
          <p:nvPr/>
        </p:nvCxnSpPr>
        <p:spPr>
          <a:xfrm flipH="1">
            <a:off x="1167735" y="4280504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9" idx="2"/>
            <a:endCxn id="32" idx="0"/>
          </p:cNvCxnSpPr>
          <p:nvPr/>
        </p:nvCxnSpPr>
        <p:spPr>
          <a:xfrm flipH="1">
            <a:off x="1769710" y="4280504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箭头连接符 27"/>
          <p:cNvCxnSpPr>
            <a:stCxn id="9" idx="2"/>
            <a:endCxn id="33" idx="0"/>
          </p:cNvCxnSpPr>
          <p:nvPr/>
        </p:nvCxnSpPr>
        <p:spPr>
          <a:xfrm>
            <a:off x="1841926" y="4280504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矩形 43"/>
          <p:cNvSpPr/>
          <p:nvPr/>
        </p:nvSpPr>
        <p:spPr bwMode="gray">
          <a:xfrm>
            <a:off x="2752119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45" name="矩形 44"/>
          <p:cNvSpPr/>
          <p:nvPr/>
        </p:nvSpPr>
        <p:spPr bwMode="gray">
          <a:xfrm>
            <a:off x="3354094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46" name="矩形 45"/>
          <p:cNvSpPr/>
          <p:nvPr/>
        </p:nvSpPr>
        <p:spPr bwMode="gray">
          <a:xfrm>
            <a:off x="3947848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47" name="直接箭头连接符 46"/>
          <p:cNvCxnSpPr>
            <a:endCxn id="44" idx="0"/>
          </p:cNvCxnSpPr>
          <p:nvPr/>
        </p:nvCxnSpPr>
        <p:spPr>
          <a:xfrm flipH="1">
            <a:off x="3004147" y="4280504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箭头连接符 47"/>
          <p:cNvCxnSpPr>
            <a:endCxn id="45" idx="0"/>
          </p:cNvCxnSpPr>
          <p:nvPr/>
        </p:nvCxnSpPr>
        <p:spPr>
          <a:xfrm flipH="1">
            <a:off x="3606122" y="4280504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箭头连接符 48"/>
          <p:cNvCxnSpPr>
            <a:endCxn id="46" idx="0"/>
          </p:cNvCxnSpPr>
          <p:nvPr/>
        </p:nvCxnSpPr>
        <p:spPr>
          <a:xfrm>
            <a:off x="3678338" y="4280504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矩形 49"/>
          <p:cNvSpPr/>
          <p:nvPr/>
        </p:nvSpPr>
        <p:spPr bwMode="gray">
          <a:xfrm>
            <a:off x="4606637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51" name="矩形 50"/>
          <p:cNvSpPr/>
          <p:nvPr/>
        </p:nvSpPr>
        <p:spPr bwMode="gray">
          <a:xfrm>
            <a:off x="5208612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2" name="矩形 51"/>
          <p:cNvSpPr/>
          <p:nvPr/>
        </p:nvSpPr>
        <p:spPr bwMode="gray">
          <a:xfrm>
            <a:off x="5802366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53" name="直接箭头连接符 52"/>
          <p:cNvCxnSpPr>
            <a:endCxn id="50" idx="0"/>
          </p:cNvCxnSpPr>
          <p:nvPr/>
        </p:nvCxnSpPr>
        <p:spPr>
          <a:xfrm flipH="1">
            <a:off x="4858665" y="4280504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箭头连接符 53"/>
          <p:cNvCxnSpPr>
            <a:endCxn id="51" idx="0"/>
          </p:cNvCxnSpPr>
          <p:nvPr/>
        </p:nvCxnSpPr>
        <p:spPr>
          <a:xfrm flipH="1">
            <a:off x="5460640" y="4280504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54"/>
          <p:cNvCxnSpPr>
            <a:endCxn id="52" idx="0"/>
          </p:cNvCxnSpPr>
          <p:nvPr/>
        </p:nvCxnSpPr>
        <p:spPr>
          <a:xfrm>
            <a:off x="5532856" y="4280504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矩形 55"/>
          <p:cNvSpPr/>
          <p:nvPr/>
        </p:nvSpPr>
        <p:spPr bwMode="gray">
          <a:xfrm>
            <a:off x="6478845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早班</a:t>
            </a:r>
          </a:p>
        </p:txBody>
      </p:sp>
      <p:sp>
        <p:nvSpPr>
          <p:cNvPr id="57" name="矩形 56"/>
          <p:cNvSpPr/>
          <p:nvPr/>
        </p:nvSpPr>
        <p:spPr bwMode="gray">
          <a:xfrm>
            <a:off x="7080820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中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58" name="矩形 57"/>
          <p:cNvSpPr/>
          <p:nvPr/>
        </p:nvSpPr>
        <p:spPr bwMode="gray">
          <a:xfrm>
            <a:off x="7674574" y="472521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夜班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cxnSp>
        <p:nvCxnSpPr>
          <p:cNvPr id="59" name="直接箭头连接符 58"/>
          <p:cNvCxnSpPr>
            <a:endCxn id="56" idx="0"/>
          </p:cNvCxnSpPr>
          <p:nvPr/>
        </p:nvCxnSpPr>
        <p:spPr>
          <a:xfrm flipH="1">
            <a:off x="6730873" y="4280504"/>
            <a:ext cx="674191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>
            <a:endCxn id="57" idx="0"/>
          </p:cNvCxnSpPr>
          <p:nvPr/>
        </p:nvCxnSpPr>
        <p:spPr>
          <a:xfrm flipH="1">
            <a:off x="7332848" y="4280504"/>
            <a:ext cx="72216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endCxn id="58" idx="0"/>
          </p:cNvCxnSpPr>
          <p:nvPr/>
        </p:nvCxnSpPr>
        <p:spPr>
          <a:xfrm>
            <a:off x="7405064" y="4280504"/>
            <a:ext cx="521538" cy="444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矩形 67"/>
          <p:cNvSpPr/>
          <p:nvPr/>
        </p:nvSpPr>
        <p:spPr bwMode="gray">
          <a:xfrm>
            <a:off x="2411760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r>
              <a:rPr lang="zh-CN" alt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展开</a:t>
            </a:r>
            <a:endParaRPr lang="en-US" altLang="zh-CN" sz="18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69" name="矩形 68"/>
          <p:cNvSpPr/>
          <p:nvPr/>
        </p:nvSpPr>
        <p:spPr bwMode="gray">
          <a:xfrm>
            <a:off x="736622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主数据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70" name="矩形 69"/>
          <p:cNvSpPr/>
          <p:nvPr/>
        </p:nvSpPr>
        <p:spPr bwMode="gray">
          <a:xfrm>
            <a:off x="5765052" y="1340768"/>
            <a:ext cx="1008112" cy="576064"/>
          </a:xfrm>
          <a:prstGeom prst="rect">
            <a:avLst/>
          </a:prstGeom>
          <a:solidFill>
            <a:srgbClr val="FFFF00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排</a:t>
            </a:r>
            <a:r>
              <a:rPr lang="zh-CN" alt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产总预览</a:t>
            </a:r>
            <a:endParaRPr lang="zh-CN" alt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71" name="矩形 70"/>
          <p:cNvSpPr/>
          <p:nvPr/>
        </p:nvSpPr>
        <p:spPr bwMode="gray">
          <a:xfrm>
            <a:off x="7421236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完工总预览</a:t>
            </a:r>
            <a:endParaRPr lang="zh-CN" alt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72" name="右箭头 71"/>
          <p:cNvSpPr/>
          <p:nvPr/>
        </p:nvSpPr>
        <p:spPr bwMode="gray">
          <a:xfrm>
            <a:off x="1888750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73" name="右箭头 72"/>
          <p:cNvSpPr/>
          <p:nvPr/>
        </p:nvSpPr>
        <p:spPr bwMode="gray">
          <a:xfrm>
            <a:off x="3544934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74" name="右箭头 73"/>
          <p:cNvSpPr/>
          <p:nvPr/>
        </p:nvSpPr>
        <p:spPr bwMode="gray">
          <a:xfrm>
            <a:off x="6917180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cxnSp>
        <p:nvCxnSpPr>
          <p:cNvPr id="75" name="直接箭头连接符 74"/>
          <p:cNvCxnSpPr>
            <a:stCxn id="69" idx="2"/>
          </p:cNvCxnSpPr>
          <p:nvPr/>
        </p:nvCxnSpPr>
        <p:spPr>
          <a:xfrm flipH="1">
            <a:off x="556602" y="1916832"/>
            <a:ext cx="684076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>
            <a:stCxn id="69" idx="2"/>
          </p:cNvCxnSpPr>
          <p:nvPr/>
        </p:nvCxnSpPr>
        <p:spPr>
          <a:xfrm>
            <a:off x="1240678" y="1916832"/>
            <a:ext cx="108012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直接箭头连接符 76"/>
          <p:cNvCxnSpPr>
            <a:stCxn id="69" idx="2"/>
          </p:cNvCxnSpPr>
          <p:nvPr/>
        </p:nvCxnSpPr>
        <p:spPr>
          <a:xfrm>
            <a:off x="1240678" y="1916832"/>
            <a:ext cx="90010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矩形 77"/>
          <p:cNvSpPr/>
          <p:nvPr/>
        </p:nvSpPr>
        <p:spPr bwMode="gray">
          <a:xfrm>
            <a:off x="4077322" y="1340768"/>
            <a:ext cx="1008112" cy="576064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工单输入</a:t>
            </a:r>
            <a:endParaRPr lang="zh-CN" altLang="en-US" sz="1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79" name="右箭头 78"/>
          <p:cNvSpPr/>
          <p:nvPr/>
        </p:nvSpPr>
        <p:spPr bwMode="gray">
          <a:xfrm>
            <a:off x="5248206" y="1484784"/>
            <a:ext cx="432048" cy="288032"/>
          </a:xfrm>
          <a:prstGeom prst="rightArrow">
            <a:avLst/>
          </a:prstGeom>
          <a:solidFill>
            <a:schemeClr val="bg2"/>
          </a:solidFill>
          <a:ln w="6350" algn="ctr">
            <a:solidFill>
              <a:schemeClr val="bg1">
                <a:lumMod val="5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54000" tIns="72000" rIns="18000" bIns="91440" rtlCol="0" anchor="ctr"/>
          <a:lstStyle/>
          <a:p>
            <a:pPr marL="168275" indent="-168275" algn="l" eaLnBrk="1" hangingPunct="1">
              <a:buClr>
                <a:schemeClr val="tx1"/>
              </a:buClr>
              <a:buFont typeface="Wingdings" pitchFamily="2" charset="2"/>
              <a:buChar char="§"/>
            </a:pPr>
            <a:endParaRPr lang="zh-CN" altLang="en-US" sz="1800" dirty="0" err="1">
              <a:cs typeface="Arial" charset="0"/>
            </a:endParaRPr>
          </a:p>
        </p:txBody>
      </p:sp>
      <p:sp>
        <p:nvSpPr>
          <p:cNvPr id="80" name="矩形 79"/>
          <p:cNvSpPr/>
          <p:nvPr/>
        </p:nvSpPr>
        <p:spPr bwMode="gray">
          <a:xfrm>
            <a:off x="317100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BOM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81" name="矩形 80"/>
          <p:cNvSpPr/>
          <p:nvPr/>
        </p:nvSpPr>
        <p:spPr bwMode="gray">
          <a:xfrm>
            <a:off x="1109188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en-US" altLang="zh-CN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ROUTING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82" name="矩形 81"/>
          <p:cNvSpPr/>
          <p:nvPr/>
        </p:nvSpPr>
        <p:spPr bwMode="gray">
          <a:xfrm>
            <a:off x="1901276" y="2348880"/>
            <a:ext cx="504056" cy="360040"/>
          </a:xfrm>
          <a:prstGeom prst="rect">
            <a:avLst/>
          </a:prstGeom>
          <a:solidFill>
            <a:schemeClr val="bg2"/>
          </a:solidFill>
          <a:ln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000" tIns="72000" rIns="18000" bIns="91440" rtlCol="0" anchor="ctr"/>
          <a:lstStyle/>
          <a:p>
            <a:pPr algn="ctr" eaLnBrk="1" hangingPunct="1">
              <a:buClr>
                <a:schemeClr val="tx1"/>
              </a:buClr>
            </a:pPr>
            <a:r>
              <a:rPr lang="zh-CN" altLang="en-US" sz="1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charset="0"/>
              </a:rPr>
              <a:t>计划框架</a:t>
            </a:r>
            <a:endParaRPr lang="zh-CN" altLang="en-US" sz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431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k7nUw.0KpVunMsstdG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JdgRYXKEam4pQD.jXpn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uyqQqn.kaMgqJ2m_5r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xTziBIj0m926NHNBgr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quEdC3bU6L1ODhufN2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9uknmRE024oZT71kdsX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_FC3J9FEqa1YIwlv9NJ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M9InW6EUOWhVbSwmfT5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F614RQdUqj2zlQgXbq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dFaAvO5Um34furEhbW9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pltlPTqUqcrILN997m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LqyagLkeTNyifU9Ly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igUJskeawcYNRBk4R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Em4mUWC0W8pwFejnIp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hhrFF3EWJyKng4rpC7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NXZT5Rk6VFoBd1BT_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XUtlN.keacgIEEgytV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3TW7_bUKS4F_3PBuu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c6Fy.9kC_Cx2KNfYuC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vokbuAECm0MlRBaCjw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i_fExDhEiQEmedJ5geQ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bCSJqpkiyJY5ykmMqR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bbh4ZCCk2DDu7DSeP4n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euiIGhrkifoRI2PTcA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T3OrbYp0CgeZ8V3cOZ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wUm4jAPUyXXW9ogpC6M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ehBvmfEukcOf1AFPGn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k7nUw.0KpVunMsstd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pltlPTqUqcrILN997mk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dFaAvO5Um34furEhbW9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Tno1n0jEuRxNfhXqqn3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1TaDuBUesSdBnFCLa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JdgRYXKEam4pQD.jXp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igUJskeawcYNRBk4R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Em4mUWC0W8pwFejnIp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NXZT5Rk6VFoBd1BT_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XUtlN.keacgIEEgytV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3TW7_bUKS4F_3PBuux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c6Fy.9kC_Cx2KNfYu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LqyagLkeTNyifU9LyW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vokbuAECm0MlRBaCjw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i_fExDhEiQEmedJ5ge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bCSJqpkiyJY5ykmMqR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bbh4ZCCk2DDu7DSeP4n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ehBvmfEukcOf1AFPGn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k7nUw.0KpVunMsstdG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dFaAvO5Um34furEhbW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igUJskeawcYNRBk4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Em4mUWC0W8pwFejnIp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hhrFF3EWJyKng4rpC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NXZT5Rk6VFoBd1BT_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XUtlN.keacgIEEgyt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3TW7_bUKS4F_3PBuu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c6Fy.9kC_Cx2KNfYu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vokbuAECm0MlRBaCj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i_fExDhEiQEmedJ5g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bCSJqpkiyJY5ykmMq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bbh4ZCCk2DDu7DSeP4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euiIGhrkifoRI2PTcA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T3OrbYp0CgeZ8V3cOZ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wUm4jAPUyXXW9ogpC6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ehBvmfEukcOf1AFPG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k7nUw.0KpVunMsstd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dFaAvO5Um34furEhbW9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JdgRYXKEam4pQD.jXp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uyqQqn.kaMgqJ2m_5r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xTziBIj0m926NHNBgr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quEdC3bU6L1ODhufN2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9uknmRE024oZT71kds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_FC3J9FEqa1YIwlv9N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a9.nr6G0qVnSwYuUznd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M9InW6EUOWhVbSwmfT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F614RQdUqj2zlQgXbq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pltlPTqUqcrILN997m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LqyagLkeTNyifU9Ly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igUJskeawcYNRBk4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Em4mUWC0W8pwFejnIp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hhrFF3EWJyKng4rpC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NXZT5Rk6VFoBd1BT_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z5YhkbwUWzwXaIrhFzR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XUtlN.keacgIEEgyt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3TW7_bUKS4F_3PBuu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c6Fy.9kC_Cx2KNfYu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vokbuAECm0MlRBaCj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i_fExDhEiQEmedJ5geQ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bCSJqpkiyJY5ykmMq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bbh4ZCCk2DDu7DSeP4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euiIGhrkifoRI2PTcA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T3OrbYp0CgeZ8V3cOZ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wUm4jAPUyXXW9ogpC6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dDB9cBlEuoOD6fUvbU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ehBvmfEukcOf1AFPG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k7nUw.0KpVunMsstd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dFaAvO5Um34furEhbW9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Tno1n0jEuRxNfhXqqn3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1TaDuBUesSdBnFCLa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JdgRYXKEam4pQD.jXp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JdgRYXKEam4pQD.jXpn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uyqQqn.kaMgqJ2m_5r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leu3t3uUGI1SGu_CY2J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xTziBIj0m926NHNBgr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quEdC3bU6L1ODhufN2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9uknmRE024oZT71kdsX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_FC3J9FEqa1YIwlv9NJ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M9InW6EUOWhVbSwmfT5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F614RQdUqj2zlQgXbqJ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pltlPTqUqcrILN997m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LqyagLkeTNyifU9Ly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rdWQZoEOrVQLLwaqWA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5GigUJskeawcYNRBk4R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Em4mUWC0W8pwFejnIp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0hhrFF3EWJyKng4rpC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NXZT5Rk6VFoBd1BT_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XUtlN.keacgIEEgyt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3TW7_bUKS4F_3PBuux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c6Fy.9kC_Cx2KNfYu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EvokbuAECm0MlRBaCj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i_fExDhEiQEmedJ5geQ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bCSJqpkiyJY5ykmMq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ehBvmfEukcOf1AFPG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bbh4ZCCk2DDu7DSeP4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euiIGhrkifoRI2PTcAy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T3OrbYp0CgeZ8V3cOZP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wUm4jAPUyXXW9ogpC6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ehBvmfEukcOf1AFPG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k7nUw.0KpVunMsstd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dFaAvO5Um34furEhbW9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Tno1n0jEuRxNfhXqqn3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1TaDuBUesSdBnFCLar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JdgRYXKEam4pQD.jXpnA"/>
</p:tagLst>
</file>

<file path=ppt/theme/theme1.xml><?xml version="1.0" encoding="utf-8"?>
<a:theme xmlns:a="http://schemas.openxmlformats.org/drawingml/2006/main" name="130523_TKE AP Powerpoint Template Grey Frame Blue_v1">
  <a:themeElements>
    <a:clrScheme name="TKE Master">
      <a:dk1>
        <a:srgbClr val="000000"/>
      </a:dk1>
      <a:lt1>
        <a:srgbClr val="FFFFFF"/>
      </a:lt1>
      <a:dk2>
        <a:srgbClr val="7C7C7C"/>
      </a:dk2>
      <a:lt2>
        <a:srgbClr val="A2A3A5"/>
      </a:lt2>
      <a:accent1>
        <a:srgbClr val="003361"/>
      </a:accent1>
      <a:accent2>
        <a:srgbClr val="006EAB"/>
      </a:accent2>
      <a:accent3>
        <a:srgbClr val="FFFFFF"/>
      </a:accent3>
      <a:accent4>
        <a:srgbClr val="000000"/>
      </a:accent4>
      <a:accent5>
        <a:srgbClr val="AAADB7"/>
      </a:accent5>
      <a:accent6>
        <a:srgbClr val="00639B"/>
      </a:accent6>
      <a:hlink>
        <a:srgbClr val="70ACE2"/>
      </a:hlink>
      <a:folHlink>
        <a:srgbClr val="C5C6C8"/>
      </a:folHlink>
    </a:clrScheme>
    <a:fontScheme name="TKE Asia englisch">
      <a:majorFont>
        <a:latin typeface="TKTypeBold"/>
        <a:ea typeface=""/>
        <a:cs typeface=""/>
      </a:majorFont>
      <a:minorFont>
        <a:latin typeface="TKType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algn="ctr">
          <a:noFill/>
          <a:miter lim="800000"/>
          <a:headEnd type="none" w="lg" len="lg"/>
          <a:tailEnd type="none" w="lg" len="lg"/>
        </a:ln>
      </a:spPr>
      <a:bodyPr lIns="54000" tIns="72000" rIns="18000" bIns="91440"/>
      <a:lstStyle>
        <a:defPPr marL="168275" indent="-168275" algn="l" eaLnBrk="1" hangingPunct="1">
          <a:buClr>
            <a:schemeClr val="tx1"/>
          </a:buClr>
          <a:buFont typeface="Wingdings" pitchFamily="2" charset="2"/>
          <a:buChar char="§"/>
          <a:defRPr sz="1400" dirty="0" err="1">
            <a:cs typeface="Arial" charset="0"/>
          </a:defRPr>
        </a:defPPr>
      </a:lst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auto">
        <a:solidFill>
          <a:schemeClr val="bg1"/>
        </a:solidFill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txDef>
  </a:objectDefaults>
  <a:extraClrSchemeLst>
    <a:extraClrScheme>
      <a:clrScheme name="TK DOT Farben">
        <a:dk1>
          <a:srgbClr val="000000"/>
        </a:dk1>
        <a:lt1>
          <a:srgbClr val="FFFFFF"/>
        </a:lt1>
        <a:dk2>
          <a:srgbClr val="1F7FB6"/>
        </a:dk2>
        <a:lt2>
          <a:srgbClr val="7CB2DE"/>
        </a:lt2>
        <a:accent1>
          <a:srgbClr val="004B7C"/>
        </a:accent1>
        <a:accent2>
          <a:srgbClr val="C9CBC7"/>
        </a:accent2>
        <a:accent3>
          <a:srgbClr val="C50E1F"/>
        </a:accent3>
        <a:accent4>
          <a:srgbClr val="35873C"/>
        </a:accent4>
        <a:accent5>
          <a:srgbClr val="DE9D22"/>
        </a:accent5>
        <a:accent6>
          <a:srgbClr val="E2C400"/>
        </a:accent6>
        <a:hlink>
          <a:srgbClr val="A5A5A4"/>
        </a:hlink>
        <a:folHlink>
          <a:srgbClr val="C2B47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302 TKE AP Template PPTX">
  <a:themeElements>
    <a:clrScheme name="TK DOT Farben">
      <a:dk1>
        <a:srgbClr val="000000"/>
      </a:dk1>
      <a:lt1>
        <a:srgbClr val="FFFFFF"/>
      </a:lt1>
      <a:dk2>
        <a:srgbClr val="1F7FB6"/>
      </a:dk2>
      <a:lt2>
        <a:srgbClr val="7CB2DE"/>
      </a:lt2>
      <a:accent1>
        <a:srgbClr val="004B7C"/>
      </a:accent1>
      <a:accent2>
        <a:srgbClr val="C9CBC7"/>
      </a:accent2>
      <a:accent3>
        <a:srgbClr val="C50E1F"/>
      </a:accent3>
      <a:accent4>
        <a:srgbClr val="35873C"/>
      </a:accent4>
      <a:accent5>
        <a:srgbClr val="DE9D22"/>
      </a:accent5>
      <a:accent6>
        <a:srgbClr val="E2C400"/>
      </a:accent6>
      <a:hlink>
        <a:srgbClr val="A5A5A4"/>
      </a:hlink>
      <a:folHlink>
        <a:srgbClr val="C2B476"/>
      </a:folHlink>
    </a:clrScheme>
    <a:fontScheme name="TKE Asia englisch">
      <a:majorFont>
        <a:latin typeface="TKTypeBold"/>
        <a:ea typeface=""/>
        <a:cs typeface=""/>
      </a:majorFont>
      <a:minorFont>
        <a:latin typeface="TKType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6350" algn="ctr">
          <a:solidFill>
            <a:schemeClr val="bg1">
              <a:lumMod val="50000"/>
            </a:schemeClr>
          </a:solidFill>
          <a:miter lim="800000"/>
          <a:headEnd type="none" w="lg" len="lg"/>
          <a:tailEnd type="none" w="lg" len="lg"/>
        </a:ln>
      </a:spPr>
      <a:bodyPr lIns="54000" tIns="72000" rIns="18000" bIns="91440" rtlCol="0" anchor="ctr"/>
      <a:lstStyle>
        <a:defPPr marL="168275" indent="-168275" algn="l" eaLnBrk="1" hangingPunct="1">
          <a:buClr>
            <a:schemeClr val="tx1"/>
          </a:buClr>
          <a:buFont typeface="Wingdings" pitchFamily="2" charset="2"/>
          <a:buChar char="§"/>
          <a:defRPr sz="1800" dirty="0" err="1">
            <a:cs typeface="Arial" charset="0"/>
          </a:defRPr>
        </a:defPPr>
      </a:lst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auto">
        <a:solidFill>
          <a:schemeClr val="bg1"/>
        </a:solidFill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txDef>
  </a:objectDefaults>
  <a:extraClrSchemeLst>
    <a:extraClrScheme>
      <a:clrScheme name="100126 PPTX Vorlage DOT 1">
        <a:dk1>
          <a:srgbClr val="000000"/>
        </a:dk1>
        <a:lt1>
          <a:srgbClr val="FFFFFF"/>
        </a:lt1>
        <a:dk2>
          <a:srgbClr val="1F7FB6"/>
        </a:dk2>
        <a:lt2>
          <a:srgbClr val="7CB2DE"/>
        </a:lt2>
        <a:accent1>
          <a:srgbClr val="004B7C"/>
        </a:accent1>
        <a:accent2>
          <a:srgbClr val="C9CBC7"/>
        </a:accent2>
        <a:accent3>
          <a:srgbClr val="FFFFFF"/>
        </a:accent3>
        <a:accent4>
          <a:srgbClr val="000000"/>
        </a:accent4>
        <a:accent5>
          <a:srgbClr val="AAB1BF"/>
        </a:accent5>
        <a:accent6>
          <a:srgbClr val="B6B8B4"/>
        </a:accent6>
        <a:hlink>
          <a:srgbClr val="A5A5A4"/>
        </a:hlink>
        <a:folHlink>
          <a:srgbClr val="C2B47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1302 TKE AP Template PPTX">
  <a:themeElements>
    <a:clrScheme name="TK DOT Farben">
      <a:dk1>
        <a:srgbClr val="000000"/>
      </a:dk1>
      <a:lt1>
        <a:srgbClr val="FFFFFF"/>
      </a:lt1>
      <a:dk2>
        <a:srgbClr val="1F7FB6"/>
      </a:dk2>
      <a:lt2>
        <a:srgbClr val="7CB2DE"/>
      </a:lt2>
      <a:accent1>
        <a:srgbClr val="004B7C"/>
      </a:accent1>
      <a:accent2>
        <a:srgbClr val="C9CBC7"/>
      </a:accent2>
      <a:accent3>
        <a:srgbClr val="C50E1F"/>
      </a:accent3>
      <a:accent4>
        <a:srgbClr val="35873C"/>
      </a:accent4>
      <a:accent5>
        <a:srgbClr val="DE9D22"/>
      </a:accent5>
      <a:accent6>
        <a:srgbClr val="E2C400"/>
      </a:accent6>
      <a:hlink>
        <a:srgbClr val="A5A5A4"/>
      </a:hlink>
      <a:folHlink>
        <a:srgbClr val="C2B476"/>
      </a:folHlink>
    </a:clrScheme>
    <a:fontScheme name="TKE Asia englisch">
      <a:majorFont>
        <a:latin typeface="TKTypeBold"/>
        <a:ea typeface=""/>
        <a:cs typeface=""/>
      </a:majorFont>
      <a:minorFont>
        <a:latin typeface="TKType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6350" algn="ctr">
          <a:solidFill>
            <a:schemeClr val="bg1">
              <a:lumMod val="50000"/>
            </a:schemeClr>
          </a:solidFill>
          <a:miter lim="800000"/>
          <a:headEnd type="none" w="lg" len="lg"/>
          <a:tailEnd type="none" w="lg" len="lg"/>
        </a:ln>
      </a:spPr>
      <a:bodyPr lIns="54000" tIns="72000" rIns="18000" bIns="91440" rtlCol="0" anchor="ctr"/>
      <a:lstStyle>
        <a:defPPr marL="168275" indent="-168275" algn="l" eaLnBrk="1" hangingPunct="1">
          <a:buClr>
            <a:schemeClr val="tx1"/>
          </a:buClr>
          <a:buFont typeface="Wingdings" pitchFamily="2" charset="2"/>
          <a:buChar char="§"/>
          <a:defRPr sz="1800" dirty="0" err="1">
            <a:cs typeface="Arial" charset="0"/>
          </a:defRPr>
        </a:defPPr>
      </a:lst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auto">
        <a:solidFill>
          <a:schemeClr val="bg1"/>
        </a:solidFill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txDef>
  </a:objectDefaults>
  <a:extraClrSchemeLst>
    <a:extraClrScheme>
      <a:clrScheme name="100126 PPTX Vorlage DOT 1">
        <a:dk1>
          <a:srgbClr val="000000"/>
        </a:dk1>
        <a:lt1>
          <a:srgbClr val="FFFFFF"/>
        </a:lt1>
        <a:dk2>
          <a:srgbClr val="1F7FB6"/>
        </a:dk2>
        <a:lt2>
          <a:srgbClr val="7CB2DE"/>
        </a:lt2>
        <a:accent1>
          <a:srgbClr val="004B7C"/>
        </a:accent1>
        <a:accent2>
          <a:srgbClr val="C9CBC7"/>
        </a:accent2>
        <a:accent3>
          <a:srgbClr val="FFFFFF"/>
        </a:accent3>
        <a:accent4>
          <a:srgbClr val="000000"/>
        </a:accent4>
        <a:accent5>
          <a:srgbClr val="AAB1BF"/>
        </a:accent5>
        <a:accent6>
          <a:srgbClr val="B6B8B4"/>
        </a:accent6>
        <a:hlink>
          <a:srgbClr val="A5A5A4"/>
        </a:hlink>
        <a:folHlink>
          <a:srgbClr val="C2B47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1302 TKE AP Template PPTX">
  <a:themeElements>
    <a:clrScheme name="TK DOT Farben">
      <a:dk1>
        <a:srgbClr val="000000"/>
      </a:dk1>
      <a:lt1>
        <a:srgbClr val="FFFFFF"/>
      </a:lt1>
      <a:dk2>
        <a:srgbClr val="1F7FB6"/>
      </a:dk2>
      <a:lt2>
        <a:srgbClr val="7CB2DE"/>
      </a:lt2>
      <a:accent1>
        <a:srgbClr val="004B7C"/>
      </a:accent1>
      <a:accent2>
        <a:srgbClr val="C9CBC7"/>
      </a:accent2>
      <a:accent3>
        <a:srgbClr val="C50E1F"/>
      </a:accent3>
      <a:accent4>
        <a:srgbClr val="35873C"/>
      </a:accent4>
      <a:accent5>
        <a:srgbClr val="DE9D22"/>
      </a:accent5>
      <a:accent6>
        <a:srgbClr val="E2C400"/>
      </a:accent6>
      <a:hlink>
        <a:srgbClr val="A5A5A4"/>
      </a:hlink>
      <a:folHlink>
        <a:srgbClr val="C2B476"/>
      </a:folHlink>
    </a:clrScheme>
    <a:fontScheme name="TKE Asia englisch">
      <a:majorFont>
        <a:latin typeface="TKTypeBold"/>
        <a:ea typeface=""/>
        <a:cs typeface=""/>
      </a:majorFont>
      <a:minorFont>
        <a:latin typeface="TKType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6350" algn="ctr">
          <a:solidFill>
            <a:schemeClr val="bg1">
              <a:lumMod val="50000"/>
            </a:schemeClr>
          </a:solidFill>
          <a:miter lim="800000"/>
          <a:headEnd type="none" w="lg" len="lg"/>
          <a:tailEnd type="none" w="lg" len="lg"/>
        </a:ln>
      </a:spPr>
      <a:bodyPr lIns="54000" tIns="72000" rIns="18000" bIns="91440" rtlCol="0" anchor="ctr"/>
      <a:lstStyle>
        <a:defPPr marL="168275" indent="-168275" algn="l" eaLnBrk="1" hangingPunct="1">
          <a:buClr>
            <a:schemeClr val="tx1"/>
          </a:buClr>
          <a:buFont typeface="Wingdings" pitchFamily="2" charset="2"/>
          <a:buChar char="§"/>
          <a:defRPr sz="1800" dirty="0" err="1">
            <a:cs typeface="Arial" charset="0"/>
          </a:defRPr>
        </a:defPPr>
      </a:lst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auto">
        <a:solidFill>
          <a:schemeClr val="bg1"/>
        </a:solidFill>
        <a:ln w="9525">
          <a:noFill/>
          <a:miter lim="800000"/>
          <a:headEnd/>
          <a:tailEnd/>
        </a:ln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txDef>
  </a:objectDefaults>
  <a:extraClrSchemeLst>
    <a:extraClrScheme>
      <a:clrScheme name="100126 PPTX Vorlage DOT 1">
        <a:dk1>
          <a:srgbClr val="000000"/>
        </a:dk1>
        <a:lt1>
          <a:srgbClr val="FFFFFF"/>
        </a:lt1>
        <a:dk2>
          <a:srgbClr val="1F7FB6"/>
        </a:dk2>
        <a:lt2>
          <a:srgbClr val="7CB2DE"/>
        </a:lt2>
        <a:accent1>
          <a:srgbClr val="004B7C"/>
        </a:accent1>
        <a:accent2>
          <a:srgbClr val="C9CBC7"/>
        </a:accent2>
        <a:accent3>
          <a:srgbClr val="FFFFFF"/>
        </a:accent3>
        <a:accent4>
          <a:srgbClr val="000000"/>
        </a:accent4>
        <a:accent5>
          <a:srgbClr val="AAB1BF"/>
        </a:accent5>
        <a:accent6>
          <a:srgbClr val="B6B8B4"/>
        </a:accent6>
        <a:hlink>
          <a:srgbClr val="A5A5A4"/>
        </a:hlink>
        <a:folHlink>
          <a:srgbClr val="C2B47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5531076B510044A74A1A37347D8313" ma:contentTypeVersion="0" ma:contentTypeDescription="Create a new document." ma:contentTypeScope="" ma:versionID="b8cd16b0ec478ca9ee674c04b77e99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66D8A32-79A7-4DEA-A567-E989464392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DA8F191-38FD-4578-9F7D-91C7053F45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5F7B05-DDA2-49FD-B1CC-CAEC7CA0C409}">
  <ds:schemaRefs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30523_TKE AP Powerpoint Template Grey Frame Blue_v1</Template>
  <TotalTime>7451</TotalTime>
  <Words>553</Words>
  <Application>Microsoft Office PowerPoint</Application>
  <PresentationFormat>全屏显示(4:3)</PresentationFormat>
  <Paragraphs>179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30" baseType="lpstr">
      <vt:lpstr>AppleGothic</vt:lpstr>
      <vt:lpstr>Arial Unicode MS</vt:lpstr>
      <vt:lpstr>经典行书简</vt:lpstr>
      <vt:lpstr>宋体</vt:lpstr>
      <vt:lpstr>微软雅黑</vt:lpstr>
      <vt:lpstr>Arial</vt:lpstr>
      <vt:lpstr>Calibri</vt:lpstr>
      <vt:lpstr>Segoe UI</vt:lpstr>
      <vt:lpstr>Segoe UI Light</vt:lpstr>
      <vt:lpstr>Symbol</vt:lpstr>
      <vt:lpstr>TKTypeBold</vt:lpstr>
      <vt:lpstr>TKTypeMedium</vt:lpstr>
      <vt:lpstr>TKTypeRegular</vt:lpstr>
      <vt:lpstr>Wingdings</vt:lpstr>
      <vt:lpstr>130523_TKE AP Powerpoint Template Grey Frame Blue_v1</vt:lpstr>
      <vt:lpstr>1302 TKE AP Template PPTX</vt:lpstr>
      <vt:lpstr>1_1302 TKE AP Template PPTX</vt:lpstr>
      <vt:lpstr>2_1302 TKE AP Template PPTX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10345306</dc:creator>
  <cp:lastModifiedBy>Haimin Guo</cp:lastModifiedBy>
  <cp:revision>383</cp:revision>
  <cp:lastPrinted>2014-06-30T06:40:49Z</cp:lastPrinted>
  <dcterms:created xsi:type="dcterms:W3CDTF">2013-05-29T01:54:26Z</dcterms:created>
  <dcterms:modified xsi:type="dcterms:W3CDTF">2015-12-18T05:4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5531076B510044A74A1A37347D8313</vt:lpwstr>
  </property>
</Properties>
</file>